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1.xml" ContentType="application/vnd.openxmlformats-officedocument.presentationml.notesSlide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notesSlides/notesSlide5.xml" ContentType="application/vnd.openxmlformats-officedocument.presentationml.notesSlide+xml"/>
  <Override PartName="/ppt/charts/colors3.xml" ContentType="application/vnd.ms-office.chartcolorstyle+xml"/>
  <Override PartName="/ppt/authors.xml" ContentType="application/vnd.ms-powerpoint.authors+xml"/>
  <Override PartName="/ppt/charts/colors4.xml" ContentType="application/vnd.ms-office.chartcolorstyle+xml"/>
  <Override PartName="/ppt/charts/style4.xml" ContentType="application/vnd.ms-office.chartstyle+xml"/>
  <Override PartName="/ppt/charts/style3.xml" ContentType="application/vnd.ms-office.chartstyle+xml"/>
  <Override PartName="/ppt/charts/chart3.xml" ContentType="application/vnd.openxmlformats-officedocument.drawingml.chart+xml"/>
  <Override PartName="/ppt/charts/colors2.xml" ContentType="application/vnd.ms-office.chartcolorstyle+xml"/>
  <Override PartName="/ppt/charts/style2.xml" ContentType="application/vnd.ms-office.chartstyle+xml"/>
  <Override PartName="/ppt/charts/chart2.xml" ContentType="application/vnd.openxmlformats-officedocument.drawingml.chart+xml"/>
  <Override PartName="/ppt/charts/colors1.xml" ContentType="application/vnd.ms-office.chartcolorstyle+xml"/>
  <Override PartName="/ppt/charts/style1.xml" ContentType="application/vnd.ms-office.chartstyle+xml"/>
  <Override PartName="/ppt/charts/chart1.xml" ContentType="application/vnd.openxmlformats-officedocument.drawingml.chart+xml"/>
  <Override PartName="/ppt/charts/chart4.xml" ContentType="application/vnd.openxmlformats-officedocument.drawingml.chart+xml"/>
  <Override PartName="/ppt/theme/theme3.xml" ContentType="application/vnd.openxmlformats-officedocument.theme+xml"/>
  <Override PartName="/ppt/theme/theme2.xml" ContentType="application/vnd.openxmlformats-officedocument.theme+xml"/>
  <Override PartName="/ppt/theme/theme1.xml" ContentType="application/vnd.openxmlformats-officedocument.theme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docProps/core.xml" ContentType="application/vnd.openxmlformats-package.core-properties+xml"/>
  <Override PartName="/ppt/revisionInfo.xml" ContentType="application/vnd.ms-powerpoint.revisioninfo+xml"/>
  <Override PartName="/ppt/tags/tag2.xml" ContentType="application/vnd.openxmlformats-officedocument.presentationml.tags+xml"/>
  <Override PartName="/docMetadata/LabelInfo.xml" ContentType="application/vnd.ms-office.classificationlabel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openxmlformats.org/officeDocument/2006/relationships/custom-properties" Target="docProps/custom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41"/>
  </p:notesMasterIdLst>
  <p:handoutMasterIdLst>
    <p:handoutMasterId r:id="rId42"/>
  </p:handoutMasterIdLst>
  <p:sldIdLst>
    <p:sldId id="2147483475" r:id="rId2"/>
    <p:sldId id="2147483476" r:id="rId3"/>
    <p:sldId id="2147483477" r:id="rId4"/>
    <p:sldId id="2147483478" r:id="rId5"/>
    <p:sldId id="2147483479" r:id="rId6"/>
    <p:sldId id="2147483480" r:id="rId7"/>
    <p:sldId id="2147483446" r:id="rId8"/>
    <p:sldId id="2147483457" r:id="rId9"/>
    <p:sldId id="2147483481" r:id="rId10"/>
    <p:sldId id="2147483482" r:id="rId11"/>
    <p:sldId id="256" r:id="rId12"/>
    <p:sldId id="2147483442" r:id="rId13"/>
    <p:sldId id="2147483414" r:id="rId14"/>
    <p:sldId id="2147470352" r:id="rId15"/>
    <p:sldId id="2147483469" r:id="rId16"/>
    <p:sldId id="2147483468" r:id="rId17"/>
    <p:sldId id="2147483448" r:id="rId18"/>
    <p:sldId id="2147483449" r:id="rId19"/>
    <p:sldId id="2147483459" r:id="rId20"/>
    <p:sldId id="2147483444" r:id="rId21"/>
    <p:sldId id="2147483443" r:id="rId22"/>
    <p:sldId id="2147483438" r:id="rId23"/>
    <p:sldId id="2147483439" r:id="rId24"/>
    <p:sldId id="2147483440" r:id="rId25"/>
    <p:sldId id="2147483431" r:id="rId26"/>
    <p:sldId id="2147483432" r:id="rId27"/>
    <p:sldId id="2147483460" r:id="rId28"/>
    <p:sldId id="2147483462" r:id="rId29"/>
    <p:sldId id="2147483434" r:id="rId30"/>
    <p:sldId id="2147483452" r:id="rId31"/>
    <p:sldId id="2147483461" r:id="rId32"/>
    <p:sldId id="2147483426" r:id="rId33"/>
    <p:sldId id="2147483474" r:id="rId34"/>
    <p:sldId id="2147483472" r:id="rId35"/>
    <p:sldId id="2147483463" r:id="rId36"/>
    <p:sldId id="2147483429" r:id="rId37"/>
    <p:sldId id="2147483471" r:id="rId38"/>
    <p:sldId id="2147483467" r:id="rId39"/>
    <p:sldId id="2147483428" r:id="rId40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pos="5524">
          <p15:clr>
            <a:srgbClr val="A4A3A4"/>
          </p15:clr>
        </p15:guide>
        <p15:guide id="4" pos="26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7EFA393-9E03-44B2-6D61-4E6440739FF6}" name="Wilbert Wesselink" initials="WW" userId="S::Wilbert_Wesselink@edwards.com::d5e8127f-7a38-49d4-983b-6afac99ec8e1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lly COLLINGRIDGE" initials="SC" lastIdx="12" clrIdx="0">
    <p:extLst>
      <p:ext uri="{19B8F6BF-5375-455C-9EA6-DF929625EA0E}">
        <p15:presenceInfo xmlns:p15="http://schemas.microsoft.com/office/powerpoint/2012/main" userId="S::sally_collingridge@escardio.net::bbed4dc1-00b7-474a-8549-18dc7b873d66" providerId="AD"/>
      </p:ext>
    </p:extLst>
  </p:cmAuthor>
  <p:cmAuthor id="2" name="Laure-Emmanuelle PEYRET" initials="LP" lastIdx="7" clrIdx="1">
    <p:extLst>
      <p:ext uri="{19B8F6BF-5375-455C-9EA6-DF929625EA0E}">
        <p15:presenceInfo xmlns:p15="http://schemas.microsoft.com/office/powerpoint/2012/main" userId="S::laure-emmanuelle_peyret@escardio.net::96dd4d06-5b74-42e8-b054-0c0a8419bf7b" providerId="AD"/>
      </p:ext>
    </p:extLst>
  </p:cmAuthor>
  <p:cmAuthor id="3" name="Philippe Pibarot" initials="PP" lastIdx="2" clrIdx="2">
    <p:extLst>
      <p:ext uri="{19B8F6BF-5375-455C-9EA6-DF929625EA0E}">
        <p15:presenceInfo xmlns:p15="http://schemas.microsoft.com/office/powerpoint/2012/main" userId="S-1-5-21-3968968061-2103028480-1470228501-616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598DD"/>
    <a:srgbClr val="3366CC"/>
    <a:srgbClr val="E0E0E0"/>
    <a:srgbClr val="D0D0D0"/>
    <a:srgbClr val="A6C9E6"/>
    <a:srgbClr val="FFFF99"/>
    <a:srgbClr val="CDDAF3"/>
    <a:srgbClr val="003366"/>
    <a:srgbClr val="AE1022"/>
    <a:srgbClr val="87878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9E2989C-3275-4DB9-A4C5-5F35866D8EF3}" v="129" dt="2024-08-25T18:56:02.10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708" autoAdjust="0"/>
    <p:restoredTop sz="88273" autoAdjust="0"/>
  </p:normalViewPr>
  <p:slideViewPr>
    <p:cSldViewPr showGuides="1">
      <p:cViewPr varScale="1">
        <p:scale>
          <a:sx n="141" d="100"/>
          <a:sy n="141" d="100"/>
        </p:scale>
        <p:origin x="800" y="176"/>
      </p:cViewPr>
      <p:guideLst>
        <p:guide orient="horz" pos="1620"/>
        <p:guide pos="2880"/>
        <p:guide pos="5524"/>
        <p:guide pos="269"/>
      </p:guideLst>
    </p:cSldViewPr>
  </p:slideViewPr>
  <p:outlineViewPr>
    <p:cViewPr>
      <p:scale>
        <a:sx n="33" d="100"/>
        <a:sy n="33" d="100"/>
      </p:scale>
      <p:origin x="0" y="-1908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89" d="100"/>
          <a:sy n="89" d="100"/>
        </p:scale>
        <p:origin x="2958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handoutMaster" Target="handoutMasters/handoutMaster1.xml"/><Relationship Id="rId47" Type="http://schemas.openxmlformats.org/officeDocument/2006/relationships/tableStyles" Target="tableStyles.xml"/><Relationship Id="rId50" Type="http://schemas.openxmlformats.org/officeDocument/2006/relationships/customXml" Target="../customXml/item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microsoft.com/office/2018/10/relationships/authors" Target="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52" Type="http://schemas.openxmlformats.org/officeDocument/2006/relationships/customXml" Target="../customXml/item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commentAuthors" Target="commentAuthors.xml"/><Relationship Id="rId48" Type="http://schemas.microsoft.com/office/2015/10/relationships/revisionInfo" Target="revisionInfo.xml"/><Relationship Id="rId8" Type="http://schemas.openxmlformats.org/officeDocument/2006/relationships/slide" Target="slides/slide7.xml"/><Relationship Id="rId51" Type="http://schemas.openxmlformats.org/officeDocument/2006/relationships/customXml" Target="../customXml/item2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de_calcul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de_calcul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de_calcul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de_calcul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nl-NL" b="1" dirty="0"/>
              <a:t>Patients discharged home (%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effectLst/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gradFill>
              <a:gsLst>
                <a:gs pos="0">
                  <a:schemeClr val="accent1"/>
                </a:gs>
                <a:gs pos="100000">
                  <a:schemeClr val="accent1">
                    <a:lumMod val="84000"/>
                  </a:schemeClr>
                </a:gs>
              </a:gsLst>
              <a:lin ang="5400000" scaled="1"/>
            </a:gra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C977-414F-A812-63AC56C76EB9}"/>
              </c:ext>
            </c:extLst>
          </c:dPt>
          <c:dLbls>
            <c:dLbl>
              <c:idx val="0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C977-414F-A812-63AC56C76EB9}"/>
                </c:ext>
              </c:extLst>
            </c:dLbl>
            <c:dLbl>
              <c:idx val="1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4797-4457-86AB-0545EDA2D95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TAVI</c:v>
                </c:pt>
                <c:pt idx="1">
                  <c:v>Surgery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90.2</c:v>
                </c:pt>
                <c:pt idx="1">
                  <c:v>49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977-414F-A812-63AC56C76EB9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41"/>
        <c:axId val="868822911"/>
        <c:axId val="868816671"/>
      </c:barChart>
      <c:catAx>
        <c:axId val="8688229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defRPr>
            </a:pPr>
            <a:endParaRPr lang="fr-FR"/>
          </a:p>
        </c:txPr>
        <c:crossAx val="868816671"/>
        <c:crosses val="autoZero"/>
        <c:auto val="1"/>
        <c:lblAlgn val="ctr"/>
        <c:lblOffset val="100"/>
        <c:noMultiLvlLbl val="0"/>
      </c:catAx>
      <c:valAx>
        <c:axId val="868816671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6882291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68000">
          <a:schemeClr val="lt1">
            <a:lumMod val="85000"/>
          </a:schemeClr>
        </a:gs>
        <a:gs pos="100000">
          <a:schemeClr val="lt1"/>
        </a:gs>
      </a:gsLst>
      <a:lin ang="5400000" scaled="1"/>
      <a:tileRect/>
    </a:gradFill>
    <a:ln w="9525" cap="flat" cmpd="sng" algn="ctr">
      <a:noFill/>
      <a:round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sz="1800" b="1" i="0" u="none" strike="noStrike" baseline="0" dirty="0">
                <a:effectLst/>
              </a:rPr>
              <a:t>Median index hospitalization stay</a:t>
            </a:r>
            <a:r>
              <a:rPr lang="cs-CZ" sz="1800" b="1" i="0" u="none" strike="noStrike" baseline="0" dirty="0">
                <a:effectLst/>
              </a:rPr>
              <a:t> </a:t>
            </a:r>
            <a:r>
              <a:rPr lang="en-US" sz="1800" b="1" i="0" u="none" strike="noStrike" baseline="0" dirty="0">
                <a:effectLst/>
              </a:rPr>
              <a:t>(days)</a:t>
            </a:r>
            <a:endParaRPr lang="nl-NL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effectLst/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gradFill>
              <a:gsLst>
                <a:gs pos="0">
                  <a:schemeClr val="accent1"/>
                </a:gs>
                <a:gs pos="100000">
                  <a:schemeClr val="accent1">
                    <a:lumMod val="84000"/>
                  </a:schemeClr>
                </a:gs>
              </a:gsLst>
              <a:lin ang="5400000" scaled="1"/>
            </a:gra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D074-40AE-AAFB-70F8A196101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TAVI</c:v>
                </c:pt>
                <c:pt idx="1">
                  <c:v>Surgery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</c:v>
                </c:pt>
                <c:pt idx="1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074-40AE-AAFB-70F8A1961013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41"/>
        <c:axId val="868822911"/>
        <c:axId val="868816671"/>
      </c:barChart>
      <c:catAx>
        <c:axId val="8688229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defRPr>
            </a:pPr>
            <a:endParaRPr lang="fr-FR"/>
          </a:p>
        </c:txPr>
        <c:crossAx val="868816671"/>
        <c:crosses val="autoZero"/>
        <c:auto val="1"/>
        <c:lblAlgn val="ctr"/>
        <c:lblOffset val="100"/>
        <c:noMultiLvlLbl val="0"/>
      </c:catAx>
      <c:valAx>
        <c:axId val="868816671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6882291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68000">
          <a:schemeClr val="lt1">
            <a:lumMod val="85000"/>
          </a:schemeClr>
        </a:gs>
        <a:gs pos="100000">
          <a:schemeClr val="lt1"/>
        </a:gs>
      </a:gsLst>
      <a:lin ang="5400000" scaled="1"/>
      <a:tileRect/>
    </a:gradFill>
    <a:ln w="9525" cap="flat" cmpd="sng" algn="ctr">
      <a:noFill/>
      <a:round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pPr>
            <a:r>
              <a:rPr lang="en-US" sz="2000" b="1" dirty="0">
                <a:solidFill>
                  <a:srgbClr val="0070C0"/>
                </a:solidFill>
              </a:rPr>
              <a:t>TAVI</a:t>
            </a:r>
          </a:p>
        </c:rich>
      </c:tx>
      <c:layout>
        <c:manualLayout>
          <c:xMode val="edge"/>
          <c:yMode val="edge"/>
          <c:x val="0.42151857835218098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rgbClr val="0070C0"/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TAVI</c:v>
                </c:pt>
              </c:strCache>
            </c:strRef>
          </c:tx>
          <c:dPt>
            <c:idx val="0"/>
            <c:bubble3D val="0"/>
            <c:spPr>
              <a:solidFill>
                <a:schemeClr val="accent4">
                  <a:tint val="58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389C-4A9A-B3A1-E17168F9631D}"/>
              </c:ext>
            </c:extLst>
          </c:dPt>
          <c:dPt>
            <c:idx val="1"/>
            <c:bubble3D val="0"/>
            <c:spPr>
              <a:solidFill>
                <a:schemeClr val="accent4">
                  <a:tint val="86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389C-4A9A-B3A1-E17168F9631D}"/>
              </c:ext>
            </c:extLst>
          </c:dPt>
          <c:dPt>
            <c:idx val="2"/>
            <c:bubble3D val="0"/>
            <c:spPr>
              <a:solidFill>
                <a:schemeClr val="accent4">
                  <a:shade val="86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389C-4A9A-B3A1-E17168F9631D}"/>
              </c:ext>
            </c:extLst>
          </c:dPt>
          <c:dPt>
            <c:idx val="3"/>
            <c:bubble3D val="0"/>
            <c:spPr>
              <a:solidFill>
                <a:schemeClr val="accent4">
                  <a:shade val="58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389C-4A9A-B3A1-E17168F9631D}"/>
              </c:ext>
            </c:extLst>
          </c:dPt>
          <c:dLbls>
            <c:dLbl>
              <c:idx val="0"/>
              <c:layout>
                <c:manualLayout>
                  <c:x val="-2.1499243127726966E-2"/>
                  <c:y val="-1.785160848647079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31CB0001-FC72-47C1-853C-51CD88378FE9}" type="CATEGORYNAME">
                      <a:rPr lang="en-US" b="1">
                        <a:solidFill>
                          <a:schemeClr val="tx1"/>
                        </a:solidFill>
                      </a:rPr>
                      <a:pPr>
                        <a:defRPr>
                          <a:solidFill>
                            <a:schemeClr val="tx1"/>
                          </a:solidFill>
                        </a:defRPr>
                      </a:pPr>
                      <a:t>[NOM DE CATÉGORIE]</a:t>
                    </a:fld>
                    <a:r>
                      <a:rPr lang="en-US" baseline="0" dirty="0">
                        <a:solidFill>
                          <a:schemeClr val="tx1"/>
                        </a:solidFill>
                      </a:rPr>
                      <a:t>
</a:t>
                    </a:r>
                    <a:fld id="{03031560-0C0F-43C8-93B0-7B06834D6E44}" type="PERCENTAGE">
                      <a:rPr lang="en-US" baseline="0">
                        <a:solidFill>
                          <a:schemeClr val="tx1"/>
                        </a:solidFill>
                      </a:rPr>
                      <a:pPr>
                        <a:defRPr>
                          <a:solidFill>
                            <a:schemeClr val="tx1"/>
                          </a:solidFill>
                        </a:defRPr>
                      </a:pPr>
                      <a:t>[POURCENTAGE]</a:t>
                    </a:fld>
                    <a:endParaRPr lang="en-US" baseline="0" dirty="0">
                      <a:solidFill>
                        <a:schemeClr val="tx1"/>
                      </a:solidFill>
                    </a:endParaRPr>
                  </a:p>
                </c:rich>
              </c:tx>
              <c:spPr>
                <a:noFill/>
                <a:ln>
                  <a:solidFill>
                    <a:schemeClr val="bg1">
                      <a:lumMod val="75000"/>
                    </a:schemeClr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389C-4A9A-B3A1-E17168F9631D}"/>
                </c:ext>
              </c:extLst>
            </c:dLbl>
            <c:dLbl>
              <c:idx val="1"/>
              <c:layout>
                <c:manualLayout>
                  <c:x val="-1.2924071082390954E-2"/>
                  <c:y val="-0.5006853164441126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3EB481AD-F2E0-46A8-887F-BAD35EDFE464}" type="CATEGORYNAME">
                      <a:rPr lang="en-US" b="1">
                        <a:solidFill>
                          <a:schemeClr val="tx1"/>
                        </a:solidFill>
                      </a:rPr>
                      <a:pPr>
                        <a:defRPr>
                          <a:solidFill>
                            <a:schemeClr val="tx1"/>
                          </a:solidFill>
                        </a:defRPr>
                      </a:pPr>
                      <a:t>[NOM DE CATÉGORIE]</a:t>
                    </a:fld>
                    <a:r>
                      <a:rPr lang="en-US" baseline="0" dirty="0">
                        <a:solidFill>
                          <a:schemeClr val="tx1"/>
                        </a:solidFill>
                      </a:rPr>
                      <a:t>
</a:t>
                    </a:r>
                    <a:fld id="{61F83CB1-D5A7-48EE-B15C-4C8F3426952F}" type="PERCENTAGE">
                      <a:rPr lang="en-US" baseline="0">
                        <a:solidFill>
                          <a:schemeClr val="tx1"/>
                        </a:solidFill>
                      </a:rPr>
                      <a:pPr>
                        <a:defRPr>
                          <a:solidFill>
                            <a:schemeClr val="tx1"/>
                          </a:solidFill>
                        </a:defRPr>
                      </a:pPr>
                      <a:t>[POURCENTAGE]</a:t>
                    </a:fld>
                    <a:endParaRPr lang="en-US" baseline="0" dirty="0">
                      <a:solidFill>
                        <a:schemeClr val="tx1"/>
                      </a:solidFill>
                    </a:endParaRPr>
                  </a:p>
                </c:rich>
              </c:tx>
              <c:spPr>
                <a:noFill/>
                <a:ln>
                  <a:solidFill>
                    <a:schemeClr val="bg1">
                      <a:lumMod val="75000"/>
                    </a:schemeClr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389C-4A9A-B3A1-E17168F9631D}"/>
                </c:ext>
              </c:extLst>
            </c:dLbl>
            <c:dLbl>
              <c:idx val="2"/>
              <c:layout>
                <c:manualLayout>
                  <c:x val="3.2310177705977383E-2"/>
                  <c:y val="-7.3092746926147839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7BEB9BE-D210-4A75-8B3E-8BEEB7A50870}" type="CATEGORYNAME">
                      <a:rPr lang="en-US" b="1">
                        <a:solidFill>
                          <a:schemeClr val="tx1"/>
                        </a:solidFill>
                      </a:rPr>
                      <a:pPr>
                        <a:defRPr>
                          <a:solidFill>
                            <a:schemeClr val="tx1"/>
                          </a:solidFill>
                        </a:defRPr>
                      </a:pPr>
                      <a:t>[NOM DE CATÉGORIE]</a:t>
                    </a:fld>
                    <a:r>
                      <a:rPr lang="en-US" baseline="0" dirty="0">
                        <a:solidFill>
                          <a:schemeClr val="tx1"/>
                        </a:solidFill>
                      </a:rPr>
                      <a:t>
</a:t>
                    </a:r>
                    <a:fld id="{D8304B8D-79EA-4C61-A0DE-CC06AC98432E}" type="PERCENTAGE">
                      <a:rPr lang="en-US" baseline="0">
                        <a:solidFill>
                          <a:schemeClr val="tx1"/>
                        </a:solidFill>
                      </a:rPr>
                      <a:pPr>
                        <a:defRPr>
                          <a:solidFill>
                            <a:schemeClr val="tx1"/>
                          </a:solidFill>
                        </a:defRPr>
                      </a:pPr>
                      <a:t>[POURCENTAGE]</a:t>
                    </a:fld>
                    <a:endParaRPr lang="en-US" baseline="0" dirty="0">
                      <a:solidFill>
                        <a:schemeClr val="tx1"/>
                      </a:solidFill>
                    </a:endParaRPr>
                  </a:p>
                </c:rich>
              </c:tx>
              <c:spPr>
                <a:noFill/>
                <a:ln>
                  <a:solidFill>
                    <a:schemeClr val="bg1">
                      <a:lumMod val="75000"/>
                    </a:schemeClr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389C-4A9A-B3A1-E17168F9631D}"/>
                </c:ext>
              </c:extLst>
            </c:dLbl>
            <c:dLbl>
              <c:idx val="3"/>
              <c:layout>
                <c:manualLayout>
                  <c:x val="1.2207014107081526E-2"/>
                  <c:y val="-1.511063047674024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C3AD22D1-10AF-4C49-AEF4-DF0B6AD6B690}" type="CATEGORYNAME">
                      <a:rPr lang="en-US" b="1" dirty="0">
                        <a:solidFill>
                          <a:schemeClr val="tx1"/>
                        </a:solidFill>
                      </a:rPr>
                      <a:pPr>
                        <a:defRPr>
                          <a:solidFill>
                            <a:schemeClr val="tx1"/>
                          </a:solidFill>
                        </a:defRPr>
                      </a:pPr>
                      <a:t>[NOM DE CATÉGORIE]</a:t>
                    </a:fld>
                    <a:r>
                      <a:rPr lang="en-US" baseline="0" dirty="0">
                        <a:solidFill>
                          <a:schemeClr val="tx1"/>
                        </a:solidFill>
                      </a:rPr>
                      <a:t>
</a:t>
                    </a:r>
                    <a:fld id="{5FB3ADC9-64D7-412C-B626-2E18C4918379}" type="PERCENTAGE">
                      <a:rPr lang="en-US" baseline="0" dirty="0">
                        <a:solidFill>
                          <a:schemeClr val="tx1"/>
                        </a:solidFill>
                      </a:rPr>
                      <a:pPr>
                        <a:defRPr>
                          <a:solidFill>
                            <a:schemeClr val="tx1"/>
                          </a:solidFill>
                        </a:defRPr>
                      </a:pPr>
                      <a:t>[POURCENTAGE]</a:t>
                    </a:fld>
                    <a:endParaRPr lang="en-US" baseline="0" dirty="0">
                      <a:solidFill>
                        <a:schemeClr val="tx1"/>
                      </a:solidFill>
                    </a:endParaRPr>
                  </a:p>
                </c:rich>
              </c:tx>
              <c:spPr>
                <a:noFill/>
                <a:ln>
                  <a:solidFill>
                    <a:schemeClr val="bg1">
                      <a:lumMod val="75000"/>
                    </a:schemeClr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389C-4A9A-B3A1-E17168F9631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in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20 mm</c:v>
                </c:pt>
                <c:pt idx="1">
                  <c:v>23 mm</c:v>
                </c:pt>
                <c:pt idx="2">
                  <c:v>26 mm</c:v>
                </c:pt>
                <c:pt idx="3">
                  <c:v>29 mm</c:v>
                </c:pt>
              </c:strCache>
            </c:strRef>
          </c:cat>
          <c:val>
            <c:numRef>
              <c:f>Sheet1!$B$2:$B$5</c:f>
              <c:numCache>
                <c:formatCode>0.00%</c:formatCode>
                <c:ptCount val="4"/>
                <c:pt idx="0">
                  <c:v>4.7E-2</c:v>
                </c:pt>
                <c:pt idx="1">
                  <c:v>0.63700000000000001</c:v>
                </c:pt>
                <c:pt idx="2">
                  <c:v>0.27</c:v>
                </c:pt>
                <c:pt idx="3">
                  <c:v>4.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77-45C1-AEF7-8185FAC07629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000" b="1" dirty="0">
                <a:solidFill>
                  <a:srgbClr val="C00000"/>
                </a:solidFill>
              </a:rPr>
              <a:t>Surgery</a:t>
            </a:r>
          </a:p>
        </c:rich>
      </c:tx>
      <c:layout>
        <c:manualLayout>
          <c:xMode val="edge"/>
          <c:yMode val="edge"/>
          <c:x val="0.41997993443027209"/>
          <c:y val="2.027147818980488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urgery</c:v>
                </c:pt>
              </c:strCache>
            </c:strRef>
          </c:tx>
          <c:dPt>
            <c:idx val="0"/>
            <c:bubble3D val="0"/>
            <c:spPr>
              <a:solidFill>
                <a:schemeClr val="accent1">
                  <a:tint val="54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6CF8-486F-9992-8B6991D9F09E}"/>
              </c:ext>
            </c:extLst>
          </c:dPt>
          <c:dPt>
            <c:idx val="1"/>
            <c:bubble3D val="0"/>
            <c:spPr>
              <a:solidFill>
                <a:schemeClr val="accent1">
                  <a:tint val="77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4-6CF8-486F-9992-8B6991D9F09E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6CF8-486F-9992-8B6991D9F09E}"/>
              </c:ext>
            </c:extLst>
          </c:dPt>
          <c:dPt>
            <c:idx val="3"/>
            <c:bubble3D val="0"/>
            <c:spPr>
              <a:solidFill>
                <a:schemeClr val="accent1">
                  <a:shade val="76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2-6CF8-486F-9992-8B6991D9F09E}"/>
              </c:ext>
            </c:extLst>
          </c:dPt>
          <c:dPt>
            <c:idx val="4"/>
            <c:bubble3D val="0"/>
            <c:spPr>
              <a:solidFill>
                <a:schemeClr val="accent1">
                  <a:shade val="53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6-6CF8-486F-9992-8B6991D9F09E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997E46F-1AF1-429A-BD64-86FED9419AB2}" type="CATEGORYNAME">
                      <a:rPr lang="en-US" b="1" smtClean="0">
                        <a:solidFill>
                          <a:schemeClr val="tx1"/>
                        </a:solidFill>
                      </a:rPr>
                      <a:pPr>
                        <a:defRPr>
                          <a:solidFill>
                            <a:schemeClr val="tx1"/>
                          </a:solidFill>
                        </a:defRPr>
                      </a:pPr>
                      <a:t>[NOM DE CATÉGORIE]</a:t>
                    </a:fld>
                    <a:r>
                      <a:rPr lang="en-US" baseline="0" dirty="0">
                        <a:solidFill>
                          <a:schemeClr val="tx1"/>
                        </a:solidFill>
                      </a:rPr>
                      <a:t> </a:t>
                    </a:r>
                  </a:p>
                  <a:p>
                    <a:pPr>
                      <a:defRPr>
                        <a:solidFill>
                          <a:schemeClr val="tx1"/>
                        </a:solidFill>
                      </a:defRPr>
                    </a:pPr>
                    <a:fld id="{69A2CBCE-5712-4806-B9DC-190B6EF73981}" type="VALUE">
                      <a:rPr lang="en-US" baseline="0" smtClean="0">
                        <a:solidFill>
                          <a:schemeClr val="tx1"/>
                        </a:solidFill>
                      </a:rPr>
                      <a:pPr>
                        <a:defRPr>
                          <a:solidFill>
                            <a:schemeClr val="tx1"/>
                          </a:solidFill>
                        </a:defRPr>
                      </a:pPr>
                      <a:t>[VALEUR]</a:t>
                    </a:fld>
                    <a:endParaRPr lang="fr-FR"/>
                  </a:p>
                </c:rich>
              </c:tx>
              <c:spPr>
                <a:noFill/>
                <a:ln>
                  <a:solidFill>
                    <a:schemeClr val="bg1">
                      <a:lumMod val="75000"/>
                    </a:schemeClr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6CF8-486F-9992-8B6991D9F09E}"/>
                </c:ext>
              </c:extLst>
            </c:dLbl>
            <c:dLbl>
              <c:idx val="1"/>
              <c:layout>
                <c:manualLayout>
                  <c:x val="-6.1307926169971889E-3"/>
                  <c:y val="-0.24936914340768174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288E312-2138-46DA-BB8F-16762D7380DF}" type="CATEGORYNAME">
                      <a:rPr lang="en-US" b="1" smtClean="0">
                        <a:solidFill>
                          <a:schemeClr val="tx1"/>
                        </a:solidFill>
                      </a:rPr>
                      <a:pPr>
                        <a:defRPr>
                          <a:solidFill>
                            <a:schemeClr val="tx1"/>
                          </a:solidFill>
                        </a:defRPr>
                      </a:pPr>
                      <a:t>[NOM DE CATÉGORIE]</a:t>
                    </a:fld>
                    <a:endParaRPr lang="en-US" b="1" dirty="0">
                      <a:solidFill>
                        <a:schemeClr val="tx1"/>
                      </a:solidFill>
                    </a:endParaRPr>
                  </a:p>
                  <a:p>
                    <a:pPr>
                      <a:defRPr>
                        <a:solidFill>
                          <a:schemeClr val="tx1"/>
                        </a:solidFill>
                      </a:defRPr>
                    </a:pPr>
                    <a:r>
                      <a:rPr lang="en-US" baseline="0" dirty="0">
                        <a:solidFill>
                          <a:schemeClr val="tx1"/>
                        </a:solidFill>
                      </a:rPr>
                      <a:t> </a:t>
                    </a:r>
                    <a:fld id="{B529C896-2C72-4598-A7F9-795FF9A4811C}" type="VALUE">
                      <a:rPr lang="en-US" baseline="0">
                        <a:solidFill>
                          <a:schemeClr val="tx1"/>
                        </a:solidFill>
                      </a:rPr>
                      <a:pPr>
                        <a:defRPr>
                          <a:solidFill>
                            <a:schemeClr val="tx1"/>
                          </a:solidFill>
                        </a:defRPr>
                      </a:pPr>
                      <a:t>[VALEUR]</a:t>
                    </a:fld>
                    <a:endParaRPr lang="en-US" baseline="0" dirty="0">
                      <a:solidFill>
                        <a:schemeClr val="tx1"/>
                      </a:solidFill>
                    </a:endParaRPr>
                  </a:p>
                </c:rich>
              </c:tx>
              <c:spPr>
                <a:noFill/>
                <a:ln>
                  <a:solidFill>
                    <a:schemeClr val="bg1">
                      <a:lumMod val="75000"/>
                    </a:schemeClr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6CF8-486F-9992-8B6991D9F09E}"/>
                </c:ext>
              </c:extLst>
            </c:dLbl>
            <c:dLbl>
              <c:idx val="2"/>
              <c:layout>
                <c:manualLayout>
                  <c:x val="-6.8895239410956958E-4"/>
                  <c:y val="-0.34460874450914297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284F059-1F56-4A50-99A5-63F144B02EB0}" type="CATEGORYNAME">
                      <a:rPr lang="en-US" b="1" smtClean="0">
                        <a:solidFill>
                          <a:schemeClr val="tx1"/>
                        </a:solidFill>
                      </a:rPr>
                      <a:pPr>
                        <a:defRPr>
                          <a:solidFill>
                            <a:schemeClr val="tx1"/>
                          </a:solidFill>
                        </a:defRPr>
                      </a:pPr>
                      <a:t>[NOM DE CATÉGORIE]</a:t>
                    </a:fld>
                    <a:r>
                      <a:rPr lang="en-US" baseline="0" dirty="0">
                        <a:solidFill>
                          <a:schemeClr val="tx1"/>
                        </a:solidFill>
                      </a:rPr>
                      <a:t> </a:t>
                    </a:r>
                  </a:p>
                  <a:p>
                    <a:pPr>
                      <a:defRPr>
                        <a:solidFill>
                          <a:schemeClr val="tx1"/>
                        </a:solidFill>
                      </a:defRPr>
                    </a:pPr>
                    <a:fld id="{BD03B48F-25DE-4AC1-BC92-B87F1379D1EC}" type="VALUE">
                      <a:rPr lang="en-US" baseline="0" smtClean="0">
                        <a:solidFill>
                          <a:schemeClr val="tx1"/>
                        </a:solidFill>
                      </a:rPr>
                      <a:pPr>
                        <a:defRPr>
                          <a:solidFill>
                            <a:schemeClr val="tx1"/>
                          </a:solidFill>
                        </a:defRPr>
                      </a:pPr>
                      <a:t>[VALEUR]</a:t>
                    </a:fld>
                    <a:endParaRPr lang="fr-FR"/>
                  </a:p>
                </c:rich>
              </c:tx>
              <c:spPr>
                <a:noFill/>
                <a:ln>
                  <a:solidFill>
                    <a:schemeClr val="bg1">
                      <a:lumMod val="75000"/>
                    </a:schemeClr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6CF8-486F-9992-8B6991D9F09E}"/>
                </c:ext>
              </c:extLst>
            </c:dLbl>
            <c:dLbl>
              <c:idx val="3"/>
              <c:layout>
                <c:manualLayout>
                  <c:x val="-2.606082806137754E-2"/>
                  <c:y val="1.068110038478564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31B5D7CA-2511-49FE-841B-4B0142808B1D}" type="CATEGORYNAME">
                      <a:rPr lang="en-US" b="1" smtClean="0">
                        <a:solidFill>
                          <a:schemeClr val="tx1"/>
                        </a:solidFill>
                      </a:rPr>
                      <a:pPr>
                        <a:defRPr>
                          <a:solidFill>
                            <a:schemeClr val="tx1"/>
                          </a:solidFill>
                        </a:defRPr>
                      </a:pPr>
                      <a:t>[NOM DE CATÉGORIE]</a:t>
                    </a:fld>
                    <a:endParaRPr lang="en-US" b="1" dirty="0">
                      <a:solidFill>
                        <a:schemeClr val="tx1"/>
                      </a:solidFill>
                    </a:endParaRPr>
                  </a:p>
                  <a:p>
                    <a:pPr>
                      <a:defRPr>
                        <a:solidFill>
                          <a:schemeClr val="tx1"/>
                        </a:solidFill>
                      </a:defRPr>
                    </a:pPr>
                    <a:r>
                      <a:rPr lang="en-US" baseline="0" dirty="0">
                        <a:solidFill>
                          <a:schemeClr val="tx1"/>
                        </a:solidFill>
                      </a:rPr>
                      <a:t> </a:t>
                    </a:r>
                    <a:fld id="{9DF3D8FD-4582-4D38-B8F0-96FBED661520}" type="VALUE">
                      <a:rPr lang="en-US" baseline="0" dirty="0">
                        <a:solidFill>
                          <a:schemeClr val="tx1"/>
                        </a:solidFill>
                      </a:rPr>
                      <a:pPr>
                        <a:defRPr>
                          <a:solidFill>
                            <a:schemeClr val="tx1"/>
                          </a:solidFill>
                        </a:defRPr>
                      </a:pPr>
                      <a:t>[VALEUR]</a:t>
                    </a:fld>
                    <a:endParaRPr lang="en-US" baseline="0" dirty="0">
                      <a:solidFill>
                        <a:schemeClr val="tx1"/>
                      </a:solidFill>
                    </a:endParaRPr>
                  </a:p>
                </c:rich>
              </c:tx>
              <c:spPr>
                <a:noFill/>
                <a:ln>
                  <a:solidFill>
                    <a:schemeClr val="bg1">
                      <a:lumMod val="75000"/>
                    </a:schemeClr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6CF8-486F-9992-8B6991D9F09E}"/>
                </c:ext>
              </c:extLst>
            </c:dLbl>
            <c:dLbl>
              <c:idx val="4"/>
              <c:layout>
                <c:manualLayout>
                  <c:x val="-4.5984760790200155E-2"/>
                  <c:y val="-4.145538594265327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9D5D9D4-10CF-4B45-A0BD-7B486ACE6F1D}" type="CATEGORYNAME">
                      <a:rPr lang="en-US" b="1" smtClean="0">
                        <a:solidFill>
                          <a:schemeClr val="tx1"/>
                        </a:solidFill>
                      </a:rPr>
                      <a:pPr>
                        <a:defRPr>
                          <a:solidFill>
                            <a:schemeClr val="tx1"/>
                          </a:solidFill>
                        </a:defRPr>
                      </a:pPr>
                      <a:t>[NOM DE CATÉGORIE]</a:t>
                    </a:fld>
                    <a:r>
                      <a:rPr lang="en-US" baseline="0" dirty="0">
                        <a:solidFill>
                          <a:schemeClr val="tx1"/>
                        </a:solidFill>
                      </a:rPr>
                      <a:t> </a:t>
                    </a:r>
                  </a:p>
                  <a:p>
                    <a:pPr>
                      <a:defRPr>
                        <a:solidFill>
                          <a:schemeClr val="tx1"/>
                        </a:solidFill>
                      </a:defRPr>
                    </a:pPr>
                    <a:fld id="{F5B0A22E-0A4C-4F8A-8193-8567F11D60E1}" type="VALUE">
                      <a:rPr lang="en-US" baseline="0" smtClean="0">
                        <a:solidFill>
                          <a:schemeClr val="tx1"/>
                        </a:solidFill>
                      </a:rPr>
                      <a:pPr>
                        <a:defRPr>
                          <a:solidFill>
                            <a:schemeClr val="tx1"/>
                          </a:solidFill>
                        </a:defRPr>
                      </a:pPr>
                      <a:t>[VALEUR]</a:t>
                    </a:fld>
                    <a:endParaRPr lang="fr-FR"/>
                  </a:p>
                </c:rich>
              </c:tx>
              <c:spPr>
                <a:noFill/>
                <a:ln>
                  <a:solidFill>
                    <a:schemeClr val="bg1">
                      <a:lumMod val="75000"/>
                    </a:schemeClr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097070459084376"/>
                      <c:h val="0.11809946196256328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6CF8-486F-9992-8B6991D9F09E}"/>
                </c:ext>
              </c:extLst>
            </c:dLbl>
            <c:dLbl>
              <c:idx val="5"/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CF8-486F-9992-8B6991D9F09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bestFit"/>
            <c:showLegendKey val="0"/>
            <c:showVal val="1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19 mm</c:v>
                </c:pt>
                <c:pt idx="1">
                  <c:v>21 mm</c:v>
                </c:pt>
                <c:pt idx="2">
                  <c:v>23 mm </c:v>
                </c:pt>
                <c:pt idx="3">
                  <c:v>25 mm</c:v>
                </c:pt>
                <c:pt idx="4">
                  <c:v>27 mm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109</c:v>
                </c:pt>
                <c:pt idx="1">
                  <c:v>0.34300000000000003</c:v>
                </c:pt>
                <c:pt idx="2">
                  <c:v>0.42799999999999999</c:v>
                </c:pt>
                <c:pt idx="3">
                  <c:v>0.109</c:v>
                </c:pt>
                <c:pt idx="4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F8-486F-9992-8B6991D9F09E}"/>
            </c:ext>
          </c:extLst>
        </c:ser>
        <c:dLbls>
          <c:dLblPos val="bestFit"/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Reversed" id="24">
  <a:schemeClr val="accent4"/>
</cs:colorStyle>
</file>

<file path=ppt/charts/colors4.xml><?xml version="1.0" encoding="utf-8"?>
<cs:colorStyle xmlns:cs="http://schemas.microsoft.com/office/drawing/2012/chartStyle" xmlns:a="http://schemas.openxmlformats.org/drawingml/2006/main" meth="withinLinearReversed" id="21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04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>
      <a:effectLst/>
    </cs:defRPr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68000">
            <a:schemeClr val="lt1">
              <a:lumMod val="85000"/>
            </a:schemeClr>
          </a:gs>
          <a:gs pos="100000">
            <a:schemeClr val="lt1"/>
          </a:gs>
        </a:gsLst>
        <a:lin ang="5400000" scaled="1"/>
        <a:tileRect/>
      </a:gra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lt1"/>
    </cs:fontRef>
    <cs:spPr/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gradFill>
          <a:gsLst>
            <a:gs pos="0">
              <a:schemeClr val="phClr"/>
            </a:gs>
            <a:gs pos="100000">
              <a:schemeClr val="phClr">
                <a:lumMod val="84000"/>
              </a:schemeClr>
            </a:gs>
          </a:gsLst>
          <a:lin ang="5400000" scaled="1"/>
        </a:gra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kern="1200">
      <a:effectLst/>
    </cs:defRPr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dk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4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>
      <a:effectLst/>
    </cs:defRPr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68000">
            <a:schemeClr val="lt1">
              <a:lumMod val="85000"/>
            </a:schemeClr>
          </a:gs>
          <a:gs pos="100000">
            <a:schemeClr val="lt1"/>
          </a:gs>
        </a:gsLst>
        <a:lin ang="5400000" scaled="1"/>
        <a:tileRect/>
      </a:gra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lt1"/>
    </cs:fontRef>
    <cs:spPr/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gradFill>
          <a:gsLst>
            <a:gs pos="0">
              <a:schemeClr val="phClr"/>
            </a:gs>
            <a:gs pos="100000">
              <a:schemeClr val="phClr">
                <a:lumMod val="84000"/>
              </a:schemeClr>
            </a:gs>
          </a:gsLst>
          <a:lin ang="5400000" scaled="1"/>
        </a:gra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kern="1200">
      <a:effectLst/>
    </cs:defRPr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dk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4CCA8C-2727-A54D-B40F-70CF9669C616}" type="datetimeFigureOut">
              <a:rPr lang="fr-FR"/>
              <a:pPr/>
              <a:t>30/08/2024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CEFCA3-4FB0-F648-923A-3843471D4321}" type="slidenum">
              <a:rPr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0420675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47D4E0-ADF2-4269-A368-F8657ABA7EB7}" type="datetimeFigureOut">
              <a:rPr lang="en-US" smtClean="0"/>
              <a:pPr/>
              <a:t>8/30/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8DCFB2-2FC4-4A48-85D8-914292BD17B8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851543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8DCFB2-2FC4-4A48-85D8-914292BD17B8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59203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32737F-AE69-49A3-B528-26B2538623F8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424951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ntion paper on Study Design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32737F-AE69-49A3-B528-26B2538623F8}" type="slidenum">
              <a:rPr lang="cs-CZ" smtClean="0"/>
              <a:t>1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7069317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8DCFB2-2FC4-4A48-85D8-914292BD17B8}" type="slidenum">
              <a:rPr lang="en-GB" smtClean="0"/>
              <a:pPr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947194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mong patients who did not undergo the assigned procedure (6 TAVI and 17 surgery), the most common reasons were the investigator’s decision to perform TAVI despite allocation to surgery (n=8), patient refusing allocation to surgery (n=4), and withdrawal of informed consent (n=4).</a:t>
            </a:r>
            <a:endParaRPr lang="nl-NL" dirty="0"/>
          </a:p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8DCFB2-2FC4-4A48-85D8-914292BD17B8}" type="slidenum">
              <a:rPr lang="en-GB" smtClean="0"/>
              <a:pPr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39609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Patient baseline characteristics were balanced in the two AT groups, except for:</a:t>
            </a:r>
          </a:p>
          <a:p>
            <a:r>
              <a:rPr lang="en-US" sz="12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- lower rate of peripheral artery disease (2.3% vs. 5.4%) </a:t>
            </a:r>
            <a:br>
              <a:rPr lang="en-US" sz="12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r>
              <a:rPr lang="en-US" sz="12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- carotid artery stenosis (1.9% vs. 3.9%) </a:t>
            </a:r>
          </a:p>
          <a:p>
            <a:r>
              <a:rPr lang="en-US" sz="12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in TAVI patients </a:t>
            </a:r>
            <a:endParaRPr lang="nl-NL" dirty="0"/>
          </a:p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8DCFB2-2FC4-4A48-85D8-914292BD17B8}" type="slidenum">
              <a:rPr lang="en-GB" smtClean="0"/>
              <a:pPr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6205186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dirty="0"/>
              <a:t>Groups balanced, randomization “succeeded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8DCFB2-2FC4-4A48-85D8-914292BD17B8}" type="slidenum">
              <a:rPr lang="en-GB" smtClean="0"/>
              <a:pPr/>
              <a:t>2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261546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Surgical valves: An Edwards Magna Ease valve was used in 59.7%, followed by </a:t>
            </a:r>
            <a:r>
              <a:rPr lang="en-US" sz="12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Livanova</a:t>
            </a:r>
            <a:r>
              <a:rPr lang="en-US" sz="12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Perceval S (15.5%) and Edwards </a:t>
            </a:r>
            <a:r>
              <a:rPr lang="en-US" sz="12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Intuity</a:t>
            </a:r>
            <a:r>
              <a:rPr lang="en-US" sz="12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(12.2%) </a:t>
            </a:r>
            <a:endParaRPr lang="nl-NL" dirty="0"/>
          </a:p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8DCFB2-2FC4-4A48-85D8-914292BD17B8}" type="slidenum">
              <a:rPr lang="en-GB" smtClean="0"/>
              <a:pPr/>
              <a:t>2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095399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hospital death reasons</a:t>
            </a:r>
            <a:br>
              <a:rPr lang="en-US" dirty="0"/>
            </a:br>
            <a:r>
              <a:rPr lang="en-US" dirty="0"/>
              <a:t>TAVI:</a:t>
            </a:r>
          </a:p>
          <a:p>
            <a:r>
              <a:rPr lang="en-US"/>
              <a:t>Surgery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8DCFB2-2FC4-4A48-85D8-914292BD17B8}" type="slidenum">
              <a:rPr lang="en-GB" smtClean="0"/>
              <a:pPr/>
              <a:t>2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495641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One-year Kaplan-Meier event rates are 8.9% and 15.6%, respectively. </a:t>
            </a:r>
          </a:p>
          <a:p>
            <a:r>
              <a:rPr lang="en-US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The event rates for primary EP at 1 year mirror very closely those of PARTNER 3- </a:t>
            </a:r>
            <a:endParaRPr lang="cs-CZ" sz="1800" b="0" i="0" u="none" strike="noStrik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020095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riginally the trial was powered for a 1-sided test for superiority with 80% power. </a:t>
            </a:r>
          </a:p>
          <a:p>
            <a:r>
              <a:rPr lang="en-US" dirty="0"/>
              <a:t>Best practice though is a 2-sided test to test for superiority, but that reduced the power to 70% (assuming the same number of patients)</a:t>
            </a:r>
          </a:p>
          <a:p>
            <a:r>
              <a:rPr lang="en-US" dirty="0"/>
              <a:t>Despite this, superiority of TAVI was demonstrated!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219480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8DCFB2-2FC4-4A48-85D8-914292BD17B8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178733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AVI was associated wit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1: a higher rate of new pacemaker implantation and major vascular complicati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2: a lower incidence of new onset atrial fibrill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ompared to surgery</a:t>
            </a:r>
            <a:endParaRPr lang="nl-NL" dirty="0"/>
          </a:p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8DCFB2-2FC4-4A48-85D8-914292BD17B8}" type="slidenum">
              <a:rPr lang="en-GB" smtClean="0"/>
              <a:pPr/>
              <a:t>3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05225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21089483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93524162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9296466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Patient baseline characteristics were balanced in the two AT groups, except for:</a:t>
            </a:r>
          </a:p>
          <a:p>
            <a:r>
              <a:rPr lang="en-US" sz="12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- lower rate of peripheral artery disease (2.3% vs. 5.4%) </a:t>
            </a:r>
            <a:br>
              <a:rPr lang="en-US" sz="12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r>
              <a:rPr lang="en-US" sz="12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- carotid artery stenosis (1.9% vs. 3.9%) </a:t>
            </a:r>
          </a:p>
          <a:p>
            <a:r>
              <a:rPr lang="en-US" sz="12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in TAVI patients </a:t>
            </a:r>
            <a:endParaRPr lang="nl-NL" dirty="0"/>
          </a:p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8DCFB2-2FC4-4A48-85D8-914292BD17B8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32144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One-year Kaplan-Meier event rates are 8.9% and 15.6%, respectively. </a:t>
            </a:r>
          </a:p>
          <a:p>
            <a:r>
              <a:rPr lang="en-US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The event rates for primary EP at 1 year mirror very closely those of PARTNER 3- </a:t>
            </a:r>
            <a:endParaRPr lang="cs-CZ" sz="1800" b="0" i="0" u="none" strike="noStrik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86072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8DCFB2-2FC4-4A48-85D8-914292BD17B8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63105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 values are indicated in case of statistically significant differences, and they relate to the difference between TAVI and Surgery</a:t>
            </a:r>
          </a:p>
          <a:p>
            <a:r>
              <a:rPr lang="en-US" dirty="0"/>
              <a:t>Error bars: standard deviation of the mea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8370263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620875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8DCFB2-2FC4-4A48-85D8-914292BD17B8}" type="slidenum">
              <a:rPr lang="en-GB" smtClean="0"/>
              <a:pPr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25592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8DCFB2-2FC4-4A48-85D8-914292BD17B8}" type="slidenum">
              <a:rPr lang="en-GB" smtClean="0"/>
              <a:pPr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66765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Espace réservé du texte 32">
            <a:extLst>
              <a:ext uri="{FF2B5EF4-FFF2-40B4-BE49-F238E27FC236}">
                <a16:creationId xmlns:a16="http://schemas.microsoft.com/office/drawing/2014/main" id="{E87A3DCC-5F52-46C1-83E5-0DCD52BF0AF8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1039771" y="2517053"/>
            <a:ext cx="6844590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  <a:lvl3pPr marL="531812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dirty="0"/>
              <a:t>A short description about the subject of the presentation. Can be used as a subtitle. </a:t>
            </a:r>
          </a:p>
        </p:txBody>
      </p:sp>
      <p:sp>
        <p:nvSpPr>
          <p:cNvPr id="36" name="Espace réservé du texte 32">
            <a:extLst>
              <a:ext uri="{FF2B5EF4-FFF2-40B4-BE49-F238E27FC236}">
                <a16:creationId xmlns:a16="http://schemas.microsoft.com/office/drawing/2014/main" id="{16284A64-7B54-461F-9363-2BE4503F91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43597" y="3961569"/>
            <a:ext cx="5688626" cy="2880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rgbClr val="AE1022"/>
                </a:solidFill>
                <a:latin typeface="+mn-lt"/>
              </a:defRPr>
            </a:lvl1pPr>
            <a:lvl2pPr marL="266700" indent="0">
              <a:buNone/>
              <a:defRPr/>
            </a:lvl2pPr>
            <a:lvl3pPr marL="531812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dirty="0"/>
              <a:t>Presentation date</a:t>
            </a:r>
          </a:p>
        </p:txBody>
      </p:sp>
      <p:sp>
        <p:nvSpPr>
          <p:cNvPr id="15" name="Espace réservé du texte 32">
            <a:extLst>
              <a:ext uri="{FF2B5EF4-FFF2-40B4-BE49-F238E27FC236}">
                <a16:creationId xmlns:a16="http://schemas.microsoft.com/office/drawing/2014/main" id="{DFFB4CC0-14B2-483B-83A6-DA9CE43781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43610" y="3577877"/>
            <a:ext cx="5688619" cy="2900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266700" indent="0">
              <a:buNone/>
              <a:defRPr/>
            </a:lvl2pPr>
            <a:lvl3pPr marL="531812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7" name="Espace réservé du texte 32">
            <a:extLst>
              <a:ext uri="{FF2B5EF4-FFF2-40B4-BE49-F238E27FC236}">
                <a16:creationId xmlns:a16="http://schemas.microsoft.com/office/drawing/2014/main" id="{495DAAF3-5ADD-3B4B-9B4A-F80003C2F6E4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1043610" y="927760"/>
            <a:ext cx="6768746" cy="833178"/>
          </a:xfrm>
          <a:prstGeom prst="rect">
            <a:avLst/>
          </a:prstGeom>
        </p:spPr>
        <p:txBody>
          <a:bodyPr wrap="square" lIns="90000" tIns="46800" rIns="90000" bIns="46800">
            <a:spAutoFit/>
          </a:bodyPr>
          <a:lstStyle>
            <a:lvl1pPr marL="0" indent="0">
              <a:spcBef>
                <a:spcPts val="600"/>
              </a:spcBef>
              <a:buNone/>
              <a:defRPr sz="4800" b="1" i="0" baseline="0">
                <a:solidFill>
                  <a:schemeClr val="accent1"/>
                </a:solidFill>
                <a:latin typeface="+mn-lt"/>
              </a:defRPr>
            </a:lvl1pPr>
            <a:lvl2pPr marL="266700" indent="0">
              <a:buNone/>
              <a:defRPr/>
            </a:lvl2pPr>
            <a:lvl3pPr marL="531812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dirty="0"/>
              <a:t>Presentation Tit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tra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5">
            <a:extLst>
              <a:ext uri="{FF2B5EF4-FFF2-40B4-BE49-F238E27FC236}">
                <a16:creationId xmlns:a16="http://schemas.microsoft.com/office/drawing/2014/main" id="{EC9FD404-747D-47CF-8BD6-85DE35A09CA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4618" y="339502"/>
            <a:ext cx="7631757" cy="4320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500"/>
              </a:lnSpc>
              <a:spcBef>
                <a:spcPts val="0"/>
              </a:spcBef>
              <a:buNone/>
              <a:defRPr sz="2800" b="1">
                <a:solidFill>
                  <a:schemeClr val="accent1"/>
                </a:solidFill>
                <a:latin typeface="+mj-lt"/>
              </a:defRPr>
            </a:lvl1pPr>
            <a:lvl2pPr marL="266700" indent="0">
              <a:buNone/>
              <a:defRPr/>
            </a:lvl2pPr>
            <a:lvl3pPr marL="531812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dirty="0"/>
              <a:t>First line of the headline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448225EB-A123-4416-BF74-09996F92429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3850" y="915566"/>
            <a:ext cx="7632700" cy="3890434"/>
          </a:xfrm>
          <a:prstGeom prst="rect">
            <a:avLst/>
          </a:prstGeom>
        </p:spPr>
        <p:txBody>
          <a:bodyPr/>
          <a:lstStyle>
            <a:lvl1pPr marL="180975" indent="-180975" defTabSz="36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1pPr>
            <a:lvl2pPr marL="447675" indent="-179388" defTabSz="358775">
              <a:buClr>
                <a:srgbClr val="AE1022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628650" indent="-179388">
              <a:buClr>
                <a:srgbClr val="AE1022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04863" indent="-179388">
              <a:buClr>
                <a:srgbClr val="AE1022"/>
              </a:buClr>
              <a:buFont typeface="Arial" panose="020B0604020202020204" pitchFamily="34" charset="0"/>
              <a:buChar char="•"/>
              <a:tabLst>
                <a:tab pos="804863" algn="l"/>
              </a:tabLst>
              <a:defRPr>
                <a:solidFill>
                  <a:schemeClr val="tx1"/>
                </a:solidFill>
                <a:latin typeface="+mn-lt"/>
              </a:defRPr>
            </a:lvl4pPr>
            <a:lvl5pPr marL="985838" indent="-179388">
              <a:buClr>
                <a:srgbClr val="AE1022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1166813" indent="-179388">
              <a:buClr>
                <a:srgbClr val="AE1022"/>
              </a:buClr>
              <a:buFont typeface="Arial" panose="020B0604020202020204" pitchFamily="34" charset="0"/>
              <a:buChar char="•"/>
              <a:tabLst>
                <a:tab pos="1076325" algn="l"/>
              </a:tabLst>
              <a:defRPr sz="1800"/>
            </a:lvl6pPr>
            <a:lvl7pPr marL="1346400" indent="-179388">
              <a:buClr>
                <a:srgbClr val="C00000"/>
              </a:buClr>
              <a:defRPr sz="1800"/>
            </a:lvl7pPr>
            <a:lvl8pPr marL="1530000" indent="-179388">
              <a:buClr>
                <a:srgbClr val="C00000"/>
              </a:buClr>
              <a:defRPr sz="1800"/>
            </a:lvl8pPr>
            <a:lvl9pPr marL="2424113" indent="-228600">
              <a:buClr>
                <a:srgbClr val="C00000"/>
              </a:buClr>
              <a:buNone/>
              <a:defRPr sz="14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0946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P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5">
            <a:extLst>
              <a:ext uri="{FF2B5EF4-FFF2-40B4-BE49-F238E27FC236}">
                <a16:creationId xmlns:a16="http://schemas.microsoft.com/office/drawing/2014/main" id="{75713D93-C919-4892-838C-B532C4D773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4618" y="339502"/>
            <a:ext cx="7631757" cy="4320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5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+mj-lt"/>
              </a:defRPr>
            </a:lvl1pPr>
            <a:lvl2pPr marL="266700" indent="0">
              <a:buNone/>
              <a:defRPr/>
            </a:lvl2pPr>
            <a:lvl3pPr marL="531812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dirty="0"/>
              <a:t>Want to use just a headline? =&gt; type here</a:t>
            </a:r>
          </a:p>
        </p:txBody>
      </p:sp>
    </p:spTree>
    <p:extLst>
      <p:ext uri="{BB962C8B-B14F-4D97-AF65-F5344CB8AC3E}">
        <p14:creationId xmlns:p14="http://schemas.microsoft.com/office/powerpoint/2010/main" val="19729448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ub-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5">
            <a:extLst>
              <a:ext uri="{FF2B5EF4-FFF2-40B4-BE49-F238E27FC236}">
                <a16:creationId xmlns:a16="http://schemas.microsoft.com/office/drawing/2014/main" id="{8A1CE93C-D99C-4EDD-BA67-BCAAD80495D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8175" y="1364165"/>
            <a:ext cx="6825854" cy="115259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50"/>
              </a:spcBef>
              <a:buNone/>
              <a:defRPr sz="2800" b="1">
                <a:solidFill>
                  <a:schemeClr val="accent1"/>
                </a:solidFill>
                <a:latin typeface="+mj-lt"/>
              </a:defRPr>
            </a:lvl1pPr>
            <a:lvl2pPr marL="266693" indent="0">
              <a:buNone/>
              <a:defRPr/>
            </a:lvl2pPr>
            <a:lvl3pPr marL="531799" indent="0">
              <a:buNone/>
              <a:defRPr/>
            </a:lvl3pPr>
            <a:lvl4pPr marL="809605" indent="0">
              <a:buNone/>
              <a:defRPr/>
            </a:lvl4pPr>
            <a:lvl5pPr marL="1076298" indent="0">
              <a:buNone/>
              <a:defRPr/>
            </a:lvl5pPr>
          </a:lstStyle>
          <a:p>
            <a:pPr lvl="0"/>
            <a:r>
              <a:rPr lang="en-GB" dirty="0"/>
              <a:t>S</a:t>
            </a:r>
            <a:r>
              <a:rPr lang="en-US" dirty="0" err="1"/>
              <a:t>ub</a:t>
            </a:r>
            <a:r>
              <a:rPr lang="en-US" dirty="0"/>
              <a:t>-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C2DF46A-1BA8-44CA-B779-2ACC2C3196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8176" y="2571750"/>
            <a:ext cx="6825853" cy="1643063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>
                <a:latin typeface="+mn-lt"/>
              </a:defRPr>
            </a:lvl1pPr>
            <a:lvl2pPr indent="-266400">
              <a:buClr>
                <a:srgbClr val="AE1022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indent="-266400">
              <a:buClr>
                <a:srgbClr val="AE1022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3pPr>
            <a:lvl4pPr indent="-266400">
              <a:buClr>
                <a:srgbClr val="AE1022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4pPr>
            <a:lvl5pPr indent="-266400">
              <a:buClr>
                <a:srgbClr val="AE1022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68874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nl-NL"/>
              <a:t>Month 00, 0000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DBA9528-BCFE-1E43-A37D-912FF3C527A6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14537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48640" y="365760"/>
            <a:ext cx="8046720" cy="6858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640" y="1188720"/>
            <a:ext cx="3931920" cy="347472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63440" y="1188720"/>
            <a:ext cx="3931920" cy="347472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nl-NL"/>
              <a:t>Month 00, 0000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DBA9528-BCFE-1E43-A37D-912FF3C527A6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65305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nl-NL"/>
              <a:t>Month 00, 0000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DBA9528-BCFE-1E43-A37D-912FF3C527A6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82691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786753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jp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89271022-20A5-4D9A-84BD-CFB63810A5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338401"/>
            <a:ext cx="7886700" cy="40959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0" lvl="0" indent="0">
              <a:lnSpc>
                <a:spcPts val="2500"/>
              </a:lnSpc>
              <a:spcBef>
                <a:spcPts val="0"/>
              </a:spcBef>
              <a:buClr>
                <a:srgbClr val="D00040"/>
              </a:buClr>
              <a:buFont typeface="Arial" pitchFamily="34" charset="0"/>
            </a:pPr>
            <a:r>
              <a:rPr lang="fr-FR"/>
              <a:t>Modifiez le style du titre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74904E-396E-4218-8F2B-633F121269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000" y="914400"/>
            <a:ext cx="7886700" cy="3913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66700" lvl="0" indent="-266700"/>
            <a:r>
              <a:rPr lang="fr-FR"/>
              <a:t>Cliquez pour modifier les styles du texte du masque</a:t>
            </a:r>
          </a:p>
          <a:p>
            <a:pPr marL="266700" lvl="1" indent="-266700"/>
            <a:r>
              <a:rPr lang="fr-FR"/>
              <a:t>Deuxième niveau</a:t>
            </a:r>
          </a:p>
          <a:p>
            <a:pPr marL="266700" lvl="2" indent="-266700"/>
            <a:r>
              <a:rPr lang="fr-FR"/>
              <a:t>Troisième niveau</a:t>
            </a:r>
          </a:p>
          <a:p>
            <a:pPr marL="266700" lvl="3" indent="-266700"/>
            <a:r>
              <a:rPr lang="fr-FR"/>
              <a:t>Quatrième niveau</a:t>
            </a:r>
          </a:p>
          <a:p>
            <a:pPr marL="266700" lvl="4" indent="-266700"/>
            <a:r>
              <a:rPr lang="fr-FR"/>
              <a:t>Cinquième niveau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8" r:id="rId2"/>
    <p:sldLayoutId id="2147483665" r:id="rId3"/>
    <p:sldLayoutId id="2147483669" r:id="rId4"/>
    <p:sldLayoutId id="2147483670" r:id="rId5"/>
    <p:sldLayoutId id="2147483671" r:id="rId6"/>
    <p:sldLayoutId id="2147483672" r:id="rId7"/>
    <p:sldLayoutId id="2147483673" r:id="rId8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lang="en-US" sz="2800" b="1" i="0" kern="1200" smtClean="0">
          <a:solidFill>
            <a:schemeClr val="accent1"/>
          </a:solidFill>
          <a:latin typeface="+mj-lt"/>
          <a:ea typeface="+mn-ea"/>
          <a:cs typeface="Verdana"/>
        </a:defRPr>
      </a:lvl1pPr>
    </p:titleStyle>
    <p:bodyStyle>
      <a:lvl1pPr marL="0" indent="0" algn="l" defTabSz="360000" rtl="0" eaLnBrk="1" latinLnBrk="0" hangingPunct="1">
        <a:spcBef>
          <a:spcPct val="20000"/>
        </a:spcBef>
        <a:buClr>
          <a:srgbClr val="C00000"/>
        </a:buClr>
        <a:buFont typeface="Arial" panose="020B0604020202020204" pitchFamily="34" charset="0"/>
        <a:buNone/>
        <a:defRPr lang="en-US" sz="2400" b="1" i="0" kern="1200" dirty="0" smtClean="0">
          <a:solidFill>
            <a:schemeClr val="tx1"/>
          </a:solidFill>
          <a:latin typeface="+mn-lt"/>
          <a:ea typeface="+mn-ea"/>
          <a:cs typeface="Verdana"/>
        </a:defRPr>
      </a:lvl1pPr>
      <a:lvl2pPr marL="266700" indent="0" algn="l" defTabSz="360000" rtl="0" eaLnBrk="1" latinLnBrk="0" hangingPunct="1">
        <a:spcBef>
          <a:spcPct val="20000"/>
        </a:spcBef>
        <a:buClr>
          <a:srgbClr val="C00000"/>
        </a:buClr>
        <a:buFont typeface="Arial" panose="020B0604020202020204" pitchFamily="34" charset="0"/>
        <a:buNone/>
        <a:defRPr lang="en-US" sz="2000" b="0" i="0" kern="1200" dirty="0" smtClean="0">
          <a:solidFill>
            <a:schemeClr val="tx1"/>
          </a:solidFill>
          <a:latin typeface="+mn-lt"/>
          <a:ea typeface="+mn-ea"/>
          <a:cs typeface="Verdana"/>
        </a:defRPr>
      </a:lvl2pPr>
      <a:lvl3pPr marL="531812" indent="0" algn="l" defTabSz="360000" rtl="0" eaLnBrk="1" latinLnBrk="0" hangingPunct="1">
        <a:spcBef>
          <a:spcPct val="20000"/>
        </a:spcBef>
        <a:buClr>
          <a:srgbClr val="C00000"/>
        </a:buClr>
        <a:buFont typeface="Arial" panose="020B0604020202020204" pitchFamily="34" charset="0"/>
        <a:buNone/>
        <a:defRPr lang="en-US" sz="1800" b="0" i="0" kern="1200" dirty="0" smtClean="0">
          <a:solidFill>
            <a:schemeClr val="tx1"/>
          </a:solidFill>
          <a:latin typeface="+mn-lt"/>
          <a:ea typeface="+mn-ea"/>
          <a:cs typeface="Verdana"/>
        </a:defRPr>
      </a:lvl3pPr>
      <a:lvl4pPr marL="809625" indent="0" algn="l" defTabSz="360000" rtl="0" eaLnBrk="1" latinLnBrk="0" hangingPunct="1">
        <a:spcBef>
          <a:spcPct val="20000"/>
        </a:spcBef>
        <a:buClr>
          <a:srgbClr val="C00000"/>
        </a:buClr>
        <a:buFont typeface="Arial" panose="020B0604020202020204" pitchFamily="34" charset="0"/>
        <a:buNone/>
        <a:defRPr lang="en-US" sz="1800" b="0" i="0" kern="1200" dirty="0" smtClean="0">
          <a:solidFill>
            <a:schemeClr val="tx1"/>
          </a:solidFill>
          <a:latin typeface="+mn-lt"/>
          <a:ea typeface="+mn-ea"/>
          <a:cs typeface="Verdana"/>
        </a:defRPr>
      </a:lvl4pPr>
      <a:lvl5pPr marL="1076325" indent="0" algn="l" defTabSz="360000" rtl="0" eaLnBrk="1" latinLnBrk="0" hangingPunct="1">
        <a:spcBef>
          <a:spcPct val="20000"/>
        </a:spcBef>
        <a:buClr>
          <a:srgbClr val="C00000"/>
        </a:buClr>
        <a:buFont typeface="Arial" panose="020B0604020202020204" pitchFamily="34" charset="0"/>
        <a:buNone/>
        <a:defRPr lang="en-US" sz="1800" b="0" i="0" kern="1200" dirty="0" smtClean="0">
          <a:solidFill>
            <a:schemeClr val="tx1"/>
          </a:solidFill>
          <a:latin typeface="+mn-lt"/>
          <a:ea typeface="+mn-ea"/>
          <a:cs typeface="Verdana"/>
        </a:defRPr>
      </a:lvl5pPr>
      <a:lvl6pPr marL="1981200" indent="0" algn="l" defTabSz="914400" rtl="0" eaLnBrk="1" latinLnBrk="0" hangingPunct="1">
        <a:spcBef>
          <a:spcPct val="20000"/>
        </a:spcBef>
        <a:buClr>
          <a:srgbClr val="C00000"/>
        </a:buClr>
        <a:buFont typeface="Arial" panose="020B0604020202020204" pitchFamily="34" charset="0"/>
        <a:buNone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.png"/><Relationship Id="rId4" Type="http://schemas.openxmlformats.org/officeDocument/2006/relationships/chart" Target="../charts/char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3EAC423-CA87-4A97-AD0F-1B7CC1FD15C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66777" y="1532626"/>
            <a:ext cx="6844590" cy="1471172"/>
          </a:xfrm>
        </p:spPr>
        <p:txBody>
          <a:bodyPr/>
          <a:lstStyle/>
          <a:p>
            <a:r>
              <a:rPr lang="en-US" sz="2000" b="1" dirty="0"/>
              <a:t>R</a:t>
            </a:r>
            <a:r>
              <a:rPr lang="en-US" sz="2000" dirty="0"/>
              <a:t>andomized </a:t>
            </a:r>
            <a:r>
              <a:rPr lang="en-US" sz="2000" dirty="0" err="1"/>
              <a:t>researc</a:t>
            </a:r>
            <a:r>
              <a:rPr lang="en-US" sz="2000" b="1" dirty="0" err="1"/>
              <a:t>H</a:t>
            </a:r>
            <a:r>
              <a:rPr lang="en-US" sz="2000" dirty="0"/>
              <a:t> in </a:t>
            </a:r>
            <a:r>
              <a:rPr lang="en-US" sz="2000" dirty="0" err="1"/>
              <a:t>wom</a:t>
            </a:r>
            <a:r>
              <a:rPr lang="en-US" sz="2000" b="1" dirty="0" err="1"/>
              <a:t>E</a:t>
            </a:r>
            <a:r>
              <a:rPr lang="en-US" sz="2000" dirty="0" err="1"/>
              <a:t>n</a:t>
            </a:r>
            <a:r>
              <a:rPr lang="en-US" sz="2000" dirty="0"/>
              <a:t> all comers </a:t>
            </a:r>
            <a:r>
              <a:rPr lang="en-US" sz="2000" dirty="0" err="1"/>
              <a:t>w</a:t>
            </a:r>
            <a:r>
              <a:rPr lang="en-US" sz="2000" b="1" dirty="0" err="1"/>
              <a:t>I</a:t>
            </a:r>
            <a:r>
              <a:rPr lang="en-US" sz="2000" dirty="0" err="1"/>
              <a:t>th</a:t>
            </a:r>
            <a:r>
              <a:rPr lang="en-US" sz="2000" dirty="0"/>
              <a:t> </a:t>
            </a:r>
            <a:r>
              <a:rPr lang="en-US" sz="2000" b="1" dirty="0"/>
              <a:t>A</a:t>
            </a:r>
            <a:r>
              <a:rPr lang="en-US" sz="2000" dirty="0"/>
              <a:t>ortic stenosis</a:t>
            </a:r>
          </a:p>
          <a:p>
            <a:endParaRPr lang="en-US" sz="2000" dirty="0"/>
          </a:p>
          <a:p>
            <a:r>
              <a:rPr lang="en-GB" sz="18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nscatheter versus surgical aortic valve replacement in women</a:t>
            </a:r>
            <a:endParaRPr lang="nl-NL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sz="20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A54CD9-6332-4018-80C0-8851DA2A6F5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ugust 31, 2024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F110484-47B9-407B-AAD0-5EFF6D5A36B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43610" y="3577877"/>
            <a:ext cx="7848870" cy="290018"/>
          </a:xfrm>
        </p:spPr>
        <p:txBody>
          <a:bodyPr/>
          <a:lstStyle/>
          <a:p>
            <a:r>
              <a:rPr lang="en-US" dirty="0"/>
              <a:t>Hélène Eltchaninoff &amp; Didier Tchétché, co-investigators, on behalf of the RHEIA investigators</a:t>
            </a:r>
          </a:p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6148CC-D3A4-4136-AA81-28BD3CC083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RHEIA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A182E5D-5B5C-07DA-E75D-FF68992558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36296" y="149721"/>
            <a:ext cx="1554615" cy="932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86238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9613E4C6-BE01-EF66-0183-E984CEA447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Back up slide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FBBA64B-AB77-DE60-B46C-78F691A391C3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7271799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3EAC423-CA87-4A97-AD0F-1B7CC1FD15C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66777" y="1532626"/>
            <a:ext cx="6844590" cy="1471172"/>
          </a:xfrm>
        </p:spPr>
        <p:txBody>
          <a:bodyPr/>
          <a:lstStyle/>
          <a:p>
            <a:r>
              <a:rPr lang="en-US" sz="2000" b="1" dirty="0"/>
              <a:t>R</a:t>
            </a:r>
            <a:r>
              <a:rPr lang="en-US" sz="2000" dirty="0"/>
              <a:t>andomized </a:t>
            </a:r>
            <a:r>
              <a:rPr lang="en-US" sz="2000" dirty="0" err="1"/>
              <a:t>researc</a:t>
            </a:r>
            <a:r>
              <a:rPr lang="en-US" sz="2000" b="1" dirty="0" err="1"/>
              <a:t>H</a:t>
            </a:r>
            <a:r>
              <a:rPr lang="en-US" sz="2000" dirty="0"/>
              <a:t> in </a:t>
            </a:r>
            <a:r>
              <a:rPr lang="en-US" sz="2000" dirty="0" err="1"/>
              <a:t>wom</a:t>
            </a:r>
            <a:r>
              <a:rPr lang="en-US" sz="2000" b="1" dirty="0" err="1"/>
              <a:t>E</a:t>
            </a:r>
            <a:r>
              <a:rPr lang="en-US" sz="2000" dirty="0" err="1"/>
              <a:t>n</a:t>
            </a:r>
            <a:r>
              <a:rPr lang="en-US" sz="2000" dirty="0"/>
              <a:t> all comers </a:t>
            </a:r>
            <a:r>
              <a:rPr lang="en-US" sz="2000" dirty="0" err="1"/>
              <a:t>w</a:t>
            </a:r>
            <a:r>
              <a:rPr lang="en-US" sz="2000" b="1" dirty="0" err="1"/>
              <a:t>I</a:t>
            </a:r>
            <a:r>
              <a:rPr lang="en-US" sz="2000" dirty="0" err="1"/>
              <a:t>th</a:t>
            </a:r>
            <a:r>
              <a:rPr lang="en-US" sz="2000" dirty="0"/>
              <a:t> </a:t>
            </a:r>
            <a:r>
              <a:rPr lang="en-US" sz="2000" b="1" dirty="0"/>
              <a:t>A</a:t>
            </a:r>
            <a:r>
              <a:rPr lang="en-US" sz="2000" dirty="0"/>
              <a:t>ortic stenosis</a:t>
            </a:r>
          </a:p>
          <a:p>
            <a:endParaRPr lang="en-US" sz="2000" dirty="0"/>
          </a:p>
          <a:p>
            <a:r>
              <a:rPr lang="en-GB" sz="18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nscatheter versus surgical aortic valve replacement in women</a:t>
            </a:r>
            <a:endParaRPr lang="nl-NL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sz="20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A54CD9-6332-4018-80C0-8851DA2A6F5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ugust 31, 2024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F110484-47B9-407B-AAD0-5EFF6D5A36B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43610" y="3577877"/>
            <a:ext cx="6552726" cy="290018"/>
          </a:xfrm>
        </p:spPr>
        <p:txBody>
          <a:bodyPr/>
          <a:lstStyle/>
          <a:p>
            <a:r>
              <a:rPr lang="en-US" dirty="0"/>
              <a:t>Hélène Eltchaninoff &amp; Didier Tchétché, on behalf of the RHEIA investigators</a:t>
            </a:r>
          </a:p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6148CC-D3A4-4136-AA81-28BD3CC083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RHEIA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A182E5D-5B5C-07DA-E75D-FF68992558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36296" y="149721"/>
            <a:ext cx="1554615" cy="932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2233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BC7A6E8A-32F3-8400-5D0A-5F11CFAEC0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337665"/>
            <a:ext cx="7886700" cy="410328"/>
          </a:xfrm>
        </p:spPr>
        <p:txBody>
          <a:bodyPr/>
          <a:lstStyle/>
          <a:p>
            <a:r>
              <a:rPr lang="en-US" dirty="0"/>
              <a:t>Background</a:t>
            </a:r>
            <a:br>
              <a:rPr lang="nl-NL" dirty="0"/>
            </a:br>
            <a:endParaRPr lang="nl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24AA18-AC21-7E75-05B0-457E3813A2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000" y="1131590"/>
            <a:ext cx="7886700" cy="2737470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/>
              <a:t>Recent data suggest that the risk of mortality after </a:t>
            </a:r>
            <a:r>
              <a:rPr lang="en-GB" sz="1800" b="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ortic valve replacement </a:t>
            </a:r>
            <a:r>
              <a:rPr lang="en-US" sz="1800" b="0" dirty="0"/>
              <a:t>is higher following Surgery but lower following Transcatheter Aortic Valve Implantation (TAVI) in women vs. m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/>
              <a:t>However, </a:t>
            </a:r>
            <a:r>
              <a:rPr lang="en-CA" sz="1800" b="0" dirty="0"/>
              <a:t>women are under-represented in low-risk TAVI vs. Surgery tria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CA" sz="18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A randomized clinical trial is needed to confirm the benefit of TAVI over Surgery in women</a:t>
            </a:r>
            <a:endParaRPr lang="en-CA" sz="1800" b="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ECD20D8-0DF8-5112-AB77-EDC227BB06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6808" y="337665"/>
            <a:ext cx="978551" cy="587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09045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6E9442-65DD-73A7-84E4-0097391559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rpose</a:t>
            </a:r>
            <a:endParaRPr lang="nl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1447BE-F607-BC2A-9C68-0310299D3BE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en-US" sz="1800" dirty="0"/>
          </a:p>
          <a:p>
            <a:endParaRPr lang="en-US" sz="1800" dirty="0"/>
          </a:p>
          <a:p>
            <a:r>
              <a:rPr lang="en-US" dirty="0"/>
              <a:t>Compare</a:t>
            </a:r>
            <a:r>
              <a:rPr lang="en-US" b="0" dirty="0"/>
              <a:t> the outcomes of </a:t>
            </a:r>
            <a:r>
              <a:rPr lang="en-US" dirty="0"/>
              <a:t>TAVI</a:t>
            </a:r>
            <a:r>
              <a:rPr lang="en-US" b="0" dirty="0"/>
              <a:t> with a balloon-expandable valve vs. conventional </a:t>
            </a:r>
            <a:r>
              <a:rPr lang="en-US" dirty="0"/>
              <a:t>surgery</a:t>
            </a:r>
            <a:r>
              <a:rPr lang="en-US" b="0" dirty="0"/>
              <a:t> in </a:t>
            </a:r>
            <a:r>
              <a:rPr lang="en-US" dirty="0"/>
              <a:t>women all comers </a:t>
            </a:r>
            <a:r>
              <a:rPr lang="en-US" b="0" dirty="0"/>
              <a:t>with severe symptomatic aortic stenosi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C51C5A6-F10A-1804-F5A6-703F4C00C9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16808" y="337665"/>
            <a:ext cx="978551" cy="587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71277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1BBACB9-FA77-C75D-F475-89338A583A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BBACB9-FA77-C75D-F475-89338A583A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44BBF99F-0C53-C921-C9CE-B555CC112C2F}"/>
              </a:ext>
            </a:extLst>
          </p:cNvPr>
          <p:cNvCxnSpPr>
            <a:cxnSpLocks/>
            <a:stCxn id="2" idx="2"/>
            <a:endCxn id="10" idx="0"/>
          </p:cNvCxnSpPr>
          <p:nvPr/>
        </p:nvCxnSpPr>
        <p:spPr>
          <a:xfrm>
            <a:off x="5797868" y="1292403"/>
            <a:ext cx="0" cy="192427"/>
          </a:xfrm>
          <a:prstGeom prst="straightConnector1">
            <a:avLst/>
          </a:prstGeom>
          <a:ln w="19050">
            <a:solidFill>
              <a:srgbClr val="B9B9B9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47B496F9-ACCC-5966-7A2B-4F5F62422FFF}"/>
              </a:ext>
            </a:extLst>
          </p:cNvPr>
          <p:cNvCxnSpPr>
            <a:cxnSpLocks/>
            <a:stCxn id="10" idx="2"/>
            <a:endCxn id="11" idx="0"/>
          </p:cNvCxnSpPr>
          <p:nvPr/>
        </p:nvCxnSpPr>
        <p:spPr>
          <a:xfrm rot="10800000" flipV="1">
            <a:off x="3861269" y="1722155"/>
            <a:ext cx="860891" cy="185753"/>
          </a:xfrm>
          <a:prstGeom prst="bentConnector2">
            <a:avLst/>
          </a:prstGeom>
          <a:ln w="19050">
            <a:solidFill>
              <a:srgbClr val="B9B9B9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7571F41E-6DDB-7101-5B3B-AF2DB3DFCFAB}"/>
              </a:ext>
            </a:extLst>
          </p:cNvPr>
          <p:cNvCxnSpPr>
            <a:cxnSpLocks/>
            <a:stCxn id="10" idx="6"/>
            <a:endCxn id="12" idx="0"/>
          </p:cNvCxnSpPr>
          <p:nvPr/>
        </p:nvCxnSpPr>
        <p:spPr>
          <a:xfrm>
            <a:off x="6873576" y="1722156"/>
            <a:ext cx="860893" cy="185753"/>
          </a:xfrm>
          <a:prstGeom prst="bentConnector2">
            <a:avLst/>
          </a:prstGeom>
          <a:ln w="19050">
            <a:solidFill>
              <a:srgbClr val="B9B9B9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7" name="Group 86">
            <a:extLst>
              <a:ext uri="{FF2B5EF4-FFF2-40B4-BE49-F238E27FC236}">
                <a16:creationId xmlns:a16="http://schemas.microsoft.com/office/drawing/2014/main" id="{46435708-17E0-1C07-9C32-009D3A1B081E}"/>
              </a:ext>
            </a:extLst>
          </p:cNvPr>
          <p:cNvGrpSpPr/>
          <p:nvPr/>
        </p:nvGrpSpPr>
        <p:grpSpPr>
          <a:xfrm>
            <a:off x="3861266" y="2385377"/>
            <a:ext cx="3873203" cy="194987"/>
            <a:chOff x="5148355" y="3448957"/>
            <a:chExt cx="5164270" cy="281470"/>
          </a:xfrm>
        </p:grpSpPr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984E703F-CD80-A692-41EC-3F2D755D6071}"/>
                </a:ext>
              </a:extLst>
            </p:cNvPr>
            <p:cNvCxnSpPr>
              <a:cxnSpLocks/>
              <a:stCxn id="11" idx="2"/>
            </p:cNvCxnSpPr>
            <p:nvPr/>
          </p:nvCxnSpPr>
          <p:spPr>
            <a:xfrm flipH="1">
              <a:off x="5148355" y="3448957"/>
              <a:ext cx="1" cy="281470"/>
            </a:xfrm>
            <a:prstGeom prst="straightConnector1">
              <a:avLst/>
            </a:prstGeom>
            <a:ln w="19050">
              <a:solidFill>
                <a:srgbClr val="B9B9B9"/>
              </a:solidFill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2560FC23-581D-8FF9-9D49-86387034F869}"/>
                </a:ext>
              </a:extLst>
            </p:cNvPr>
            <p:cNvCxnSpPr>
              <a:cxnSpLocks/>
              <a:stCxn id="12" idx="2"/>
            </p:cNvCxnSpPr>
            <p:nvPr/>
          </p:nvCxnSpPr>
          <p:spPr>
            <a:xfrm flipH="1">
              <a:off x="10312624" y="3448957"/>
              <a:ext cx="1" cy="281470"/>
            </a:xfrm>
            <a:prstGeom prst="straightConnector1">
              <a:avLst/>
            </a:prstGeom>
            <a:ln w="19050">
              <a:solidFill>
                <a:srgbClr val="B9B9B9"/>
              </a:solidFill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itre 1">
            <a:extLst>
              <a:ext uri="{FF2B5EF4-FFF2-40B4-BE49-F238E27FC236}">
                <a16:creationId xmlns:a16="http://schemas.microsoft.com/office/drawing/2014/main" id="{2C20A927-4911-7076-C4B2-1E5967180F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/>
              <a:t>R</a:t>
            </a:r>
            <a:r>
              <a:rPr lang="cs-CZ" dirty="0"/>
              <a:t>HEIA Trial Design</a:t>
            </a:r>
            <a:r>
              <a:rPr lang="en-US" dirty="0"/>
              <a:t> 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0AA02A8-516E-071D-B782-AA446C82B78F}"/>
              </a:ext>
            </a:extLst>
          </p:cNvPr>
          <p:cNvSpPr/>
          <p:nvPr/>
        </p:nvSpPr>
        <p:spPr>
          <a:xfrm>
            <a:off x="3000375" y="969238"/>
            <a:ext cx="5594985" cy="323165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8580" bIns="68580" rtlCol="0" anchor="t">
            <a:spAutoFit/>
          </a:bodyPr>
          <a:lstStyle/>
          <a:p>
            <a:pPr algn="ctr" defTabSz="457178">
              <a:defRPr/>
            </a:pPr>
            <a:r>
              <a:rPr lang="en-US" sz="1200" b="1" dirty="0">
                <a:solidFill>
                  <a:srgbClr val="FFFFFF"/>
                </a:solidFill>
                <a:latin typeface="Arial"/>
              </a:rPr>
              <a:t>Women with symptomatic severe AS</a:t>
            </a:r>
            <a:endParaRPr lang="nl-NL" sz="1200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2B43D0F-59E4-55DB-153C-2E42574DCE13}"/>
              </a:ext>
            </a:extLst>
          </p:cNvPr>
          <p:cNvSpPr/>
          <p:nvPr/>
        </p:nvSpPr>
        <p:spPr>
          <a:xfrm>
            <a:off x="395536" y="972422"/>
            <a:ext cx="2225318" cy="3474720"/>
          </a:xfrm>
          <a:prstGeom prst="rect">
            <a:avLst/>
          </a:prstGeom>
          <a:gradFill>
            <a:gsLst>
              <a:gs pos="0">
                <a:srgbClr val="898D8D">
                  <a:alpha val="35000"/>
                </a:srgbClr>
              </a:gs>
              <a:gs pos="68000">
                <a:srgbClr val="898D8D">
                  <a:alpha val="0"/>
                </a:srgbClr>
              </a:gs>
            </a:gsLst>
            <a:lin ang="5400000" scaled="1"/>
          </a:gradFill>
        </p:spPr>
        <p:txBody>
          <a:bodyPr vert="horz" wrap="square" lIns="68580" tIns="68580" rIns="68580" bIns="68580" rtlCol="0">
            <a:noAutofit/>
          </a:bodyPr>
          <a:lstStyle/>
          <a:p>
            <a:pPr defTabSz="457189">
              <a:lnSpc>
                <a:spcPct val="110000"/>
              </a:lnSpc>
              <a:spcBef>
                <a:spcPts val="600"/>
              </a:spcBef>
              <a:buClr>
                <a:srgbClr val="C8102E"/>
              </a:buClr>
              <a:buSzPct val="110000"/>
              <a:defRPr/>
            </a:pPr>
            <a:r>
              <a:rPr lang="en-US" sz="1200" b="1" dirty="0">
                <a:solidFill>
                  <a:srgbClr val="505759"/>
                </a:solidFill>
                <a:latin typeface="Arial"/>
              </a:rPr>
              <a:t>Investigator initiated, multicenter, international RCT to evaluate safety and efficacy of TAVI vs. Surgery in women with symptomatic severe AS</a:t>
            </a:r>
            <a:endParaRPr lang="nl-NL" sz="1200" b="1" dirty="0">
              <a:solidFill>
                <a:srgbClr val="505759"/>
              </a:solidFill>
              <a:latin typeface="Arial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72B27225-2927-5D72-493B-216AE5B758D8}"/>
              </a:ext>
            </a:extLst>
          </p:cNvPr>
          <p:cNvSpPr/>
          <p:nvPr/>
        </p:nvSpPr>
        <p:spPr>
          <a:xfrm>
            <a:off x="4722159" y="1484830"/>
            <a:ext cx="2151417" cy="474651"/>
          </a:xfrm>
          <a:prstGeom prst="ellipse">
            <a:avLst/>
          </a:prstGeom>
          <a:solidFill>
            <a:srgbClr val="002060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 defTabSz="457178">
              <a:defRPr/>
            </a:pPr>
            <a:r>
              <a:rPr lang="en-US" sz="1200" b="1" dirty="0">
                <a:solidFill>
                  <a:srgbClr val="FFFFFF"/>
                </a:solidFill>
                <a:latin typeface="Arial"/>
              </a:rPr>
              <a:t>1:1 Randomization </a:t>
            </a:r>
            <a:r>
              <a:rPr lang="en-US" sz="1200" dirty="0">
                <a:solidFill>
                  <a:srgbClr val="FFFFFF"/>
                </a:solidFill>
                <a:latin typeface="Arial"/>
              </a:rPr>
              <a:t>440 patients</a:t>
            </a:r>
            <a:endParaRPr lang="nl-NL" sz="12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EB10F15-3638-43E5-6441-A5831BA4DB05}"/>
              </a:ext>
            </a:extLst>
          </p:cNvPr>
          <p:cNvSpPr/>
          <p:nvPr/>
        </p:nvSpPr>
        <p:spPr>
          <a:xfrm>
            <a:off x="3000376" y="1907909"/>
            <a:ext cx="1721783" cy="696950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>
              <a:defRPr/>
            </a:pPr>
            <a:r>
              <a:rPr lang="en-US" sz="1200" b="1" dirty="0">
                <a:solidFill>
                  <a:srgbClr val="FFFFFF"/>
                </a:solidFill>
                <a:latin typeface="Arial"/>
              </a:rPr>
              <a:t>TAVI</a:t>
            </a:r>
            <a:endParaRPr lang="cs-CZ" sz="1200" b="1" dirty="0">
              <a:solidFill>
                <a:srgbClr val="FFFFFF"/>
              </a:solidFill>
              <a:latin typeface="Arial"/>
            </a:endParaRPr>
          </a:p>
          <a:p>
            <a:pPr algn="ctr" defTabSz="457178">
              <a:defRPr/>
            </a:pPr>
            <a:r>
              <a:rPr lang="en-US" sz="1200" dirty="0">
                <a:solidFill>
                  <a:srgbClr val="FFFFFF"/>
                </a:solidFill>
                <a:latin typeface="Arial"/>
              </a:rPr>
              <a:t>Sapien 3 / </a:t>
            </a:r>
            <a:r>
              <a:rPr lang="cs-CZ" sz="1200" dirty="0">
                <a:solidFill>
                  <a:srgbClr val="FFFFFF"/>
                </a:solidFill>
                <a:latin typeface="Arial"/>
              </a:rPr>
              <a:t>Sapien 3U</a:t>
            </a:r>
            <a:endParaRPr lang="en-US" sz="12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4440C5E-FE4B-A967-9771-2C77E7A9DB73}"/>
              </a:ext>
            </a:extLst>
          </p:cNvPr>
          <p:cNvSpPr/>
          <p:nvPr/>
        </p:nvSpPr>
        <p:spPr>
          <a:xfrm>
            <a:off x="6873577" y="1907909"/>
            <a:ext cx="1721783" cy="696950"/>
          </a:xfrm>
          <a:prstGeom prst="rect">
            <a:avLst/>
          </a:prstGeom>
          <a:solidFill>
            <a:srgbClr val="C00000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68580" rIns="72000" bIns="68580" rtlCol="0" anchor="ctr"/>
          <a:lstStyle/>
          <a:p>
            <a:pPr algn="ctr" defTabSz="457178">
              <a:defRPr/>
            </a:pPr>
            <a:r>
              <a:rPr lang="en-US" sz="1200" b="1" dirty="0">
                <a:solidFill>
                  <a:srgbClr val="FFFFFF"/>
                </a:solidFill>
                <a:latin typeface="Arial"/>
              </a:rPr>
              <a:t>Surgery</a:t>
            </a:r>
          </a:p>
          <a:p>
            <a:pPr algn="ctr" defTabSz="457178">
              <a:defRPr/>
            </a:pPr>
            <a:r>
              <a:rPr lang="en-US" sz="1200" dirty="0">
                <a:solidFill>
                  <a:srgbClr val="FFFFFF"/>
                </a:solidFill>
                <a:latin typeface="Arial"/>
              </a:rPr>
              <a:t>Any commercially available </a:t>
            </a:r>
            <a:r>
              <a:rPr lang="cs-CZ" sz="1200" dirty="0">
                <a:solidFill>
                  <a:srgbClr val="FFFFFF"/>
                </a:solidFill>
                <a:latin typeface="Arial"/>
              </a:rPr>
              <a:t>surgical </a:t>
            </a:r>
            <a:r>
              <a:rPr lang="en-US" sz="1200" dirty="0">
                <a:solidFill>
                  <a:srgbClr val="FFFFFF"/>
                </a:solidFill>
                <a:latin typeface="Arial"/>
              </a:rPr>
              <a:t>valv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F0B9E4C-4BF0-75CF-F70C-96B924C55EBC}"/>
              </a:ext>
            </a:extLst>
          </p:cNvPr>
          <p:cNvSpPr/>
          <p:nvPr/>
        </p:nvSpPr>
        <p:spPr>
          <a:xfrm>
            <a:off x="3000375" y="2935786"/>
            <a:ext cx="5594985" cy="69249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8580" bIns="68580" rtlCol="0" anchor="ctr">
            <a:spAutoFit/>
          </a:bodyPr>
          <a:lstStyle/>
          <a:p>
            <a:pPr algn="ctr" defTabSz="457178">
              <a:defRPr/>
            </a:pPr>
            <a:r>
              <a:rPr lang="en-US" sz="1200" b="1" dirty="0">
                <a:solidFill>
                  <a:srgbClr val="FFFFFF"/>
                </a:solidFill>
                <a:latin typeface="Arial"/>
              </a:rPr>
              <a:t>PRIMARY ENDPOINT</a:t>
            </a:r>
            <a:br>
              <a:rPr lang="en-US" sz="1200" dirty="0">
                <a:solidFill>
                  <a:srgbClr val="FFFFFF"/>
                </a:solidFill>
                <a:latin typeface="Arial"/>
              </a:rPr>
            </a:br>
            <a:r>
              <a:rPr lang="en-US" sz="1200" dirty="0">
                <a:solidFill>
                  <a:srgbClr val="FFFFFF"/>
                </a:solidFill>
                <a:latin typeface="Arial"/>
              </a:rPr>
              <a:t>C</a:t>
            </a:r>
            <a:r>
              <a:rPr lang="en-US" sz="1200" b="1" dirty="0">
                <a:solidFill>
                  <a:schemeClr val="bg1"/>
                </a:solidFill>
                <a:latin typeface="Arial"/>
              </a:rPr>
              <a:t>omposite endpoint at 1 year post procedure:</a:t>
            </a:r>
            <a:br>
              <a:rPr lang="en-US" sz="1200" b="1" dirty="0">
                <a:solidFill>
                  <a:schemeClr val="bg1"/>
                </a:solidFill>
                <a:latin typeface="Arial"/>
              </a:rPr>
            </a:br>
            <a:r>
              <a:rPr lang="en-US" sz="1200" b="1" dirty="0">
                <a:solidFill>
                  <a:schemeClr val="bg1"/>
                </a:solidFill>
                <a:latin typeface="Arial"/>
              </a:rPr>
              <a:t>all cause MORTALITY, all STROKE and REHOSPITALIZATION</a:t>
            </a:r>
            <a:endParaRPr lang="nl-NL" sz="1200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9BE89A-CC43-2176-1EB8-1164B5574A74}"/>
              </a:ext>
            </a:extLst>
          </p:cNvPr>
          <p:cNvSpPr/>
          <p:nvPr/>
        </p:nvSpPr>
        <p:spPr>
          <a:xfrm>
            <a:off x="3000375" y="3947669"/>
            <a:ext cx="5594985" cy="507831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8580" bIns="68580" rtlCol="0" anchor="ctr">
            <a:spAutoFit/>
          </a:bodyPr>
          <a:lstStyle/>
          <a:p>
            <a:pPr algn="ctr" defTabSz="457178">
              <a:defRPr/>
            </a:pPr>
            <a:r>
              <a:rPr lang="cs-CZ" sz="1200" b="1" dirty="0">
                <a:solidFill>
                  <a:srgbClr val="FFFFFF"/>
                </a:solidFill>
                <a:latin typeface="Arial"/>
              </a:rPr>
              <a:t>STUDY VISITS</a:t>
            </a:r>
            <a:br>
              <a:rPr lang="en-US" sz="1200" b="1" dirty="0">
                <a:solidFill>
                  <a:srgbClr val="FFFFFF"/>
                </a:solidFill>
                <a:latin typeface="Arial"/>
              </a:rPr>
            </a:br>
            <a:r>
              <a:rPr lang="en-US" sz="1200" dirty="0">
                <a:solidFill>
                  <a:srgbClr val="FFFFFF"/>
                </a:solidFill>
                <a:latin typeface="Arial"/>
              </a:rPr>
              <a:t>Screening, procedure, post-procedure, discharge, 30 days, and 1 year </a:t>
            </a:r>
            <a:endParaRPr lang="nl-NL" sz="1200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A747D87-6720-5CD3-A9B5-9C1E5D889A8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16808" y="337665"/>
            <a:ext cx="978551" cy="587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5699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8F6780-C856-306B-7B32-81F131B8C5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48 Clinical Sites - </a:t>
            </a:r>
            <a:r>
              <a:rPr lang="en-US" sz="2800" dirty="0"/>
              <a:t>443 Patients - 12 Countries</a:t>
            </a:r>
            <a:endParaRPr lang="nl-NL" dirty="0"/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56580361-11F7-C93D-4E48-11DAE292B68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/>
          <a:stretch/>
        </p:blipFill>
        <p:spPr>
          <a:xfrm>
            <a:off x="3923928" y="956684"/>
            <a:ext cx="4901609" cy="3828620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4A611A4-8E4C-F54F-3B65-39DA4FD252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16808" y="337665"/>
            <a:ext cx="978551" cy="587131"/>
          </a:xfrm>
          <a:prstGeom prst="rect">
            <a:avLst/>
          </a:prstGeom>
        </p:spPr>
      </p:pic>
      <p:sp>
        <p:nvSpPr>
          <p:cNvPr id="4" name="Textfeld 3"/>
          <p:cNvSpPr txBox="1"/>
          <p:nvPr/>
        </p:nvSpPr>
        <p:spPr>
          <a:xfrm>
            <a:off x="318463" y="847363"/>
            <a:ext cx="4031358" cy="40472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700" indent="0" algn="ctr" defTabSz="360000" rtl="0" eaLnBrk="1" latinLnBrk="0" hangingPunct="1">
              <a:buClr>
                <a:srgbClr val="C00000"/>
              </a:buClr>
              <a:buFont typeface="Arial" panose="020B0604020202020204" pitchFamily="34" charset="0"/>
              <a:buNone/>
            </a:pPr>
            <a:r>
              <a:rPr lang="de-DE" sz="1600" b="1" i="0" kern="1200" dirty="0">
                <a:solidFill>
                  <a:schemeClr val="tx1"/>
                </a:solidFill>
              </a:rPr>
              <a:t>Top 10 enrolling sites</a:t>
            </a:r>
            <a:endParaRPr lang="de-DE" sz="1600" b="1" dirty="0"/>
          </a:p>
          <a:p>
            <a:pPr marL="228600" indent="-228600">
              <a:buFont typeface="+mj-lt"/>
              <a:buAutoNum type="arabicPeriod"/>
            </a:pPr>
            <a:r>
              <a:rPr lang="de-DE" sz="1100" b="1" dirty="0" err="1"/>
              <a:t>Clinique</a:t>
            </a:r>
            <a:r>
              <a:rPr lang="de-DE" sz="1100" b="1" dirty="0"/>
              <a:t> Pasteur</a:t>
            </a:r>
            <a:r>
              <a:rPr lang="de-DE" sz="1100" dirty="0"/>
              <a:t>, Toulouse, France (</a:t>
            </a:r>
            <a:r>
              <a:rPr lang="de-DE" sz="1100" dirty="0" err="1"/>
              <a:t>Tchétché</a:t>
            </a:r>
            <a:r>
              <a:rPr lang="de-DE" sz="1100" dirty="0"/>
              <a:t> Didier, </a:t>
            </a:r>
            <a:r>
              <a:rPr lang="en-GB" sz="1100" dirty="0" err="1"/>
              <a:t>Berthoumieu</a:t>
            </a:r>
            <a:r>
              <a:rPr lang="en-GB" sz="1100" dirty="0"/>
              <a:t> Pierre, 31 pts.)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100" b="1" dirty="0"/>
              <a:t>St Antonius </a:t>
            </a:r>
            <a:r>
              <a:rPr lang="en-GB" sz="1100" b="1" dirty="0" err="1"/>
              <a:t>Ziekenhuis</a:t>
            </a:r>
            <a:r>
              <a:rPr lang="en-GB" sz="1100" b="1" dirty="0"/>
              <a:t> </a:t>
            </a:r>
            <a:r>
              <a:rPr lang="en-GB" sz="1100" b="1" dirty="0" err="1"/>
              <a:t>Nieuwegein</a:t>
            </a:r>
            <a:r>
              <a:rPr lang="en-GB" sz="1100" dirty="0"/>
              <a:t>, </a:t>
            </a:r>
            <a:r>
              <a:rPr lang="en-GB" sz="1100" dirty="0" err="1"/>
              <a:t>Nieuwegein</a:t>
            </a:r>
            <a:r>
              <a:rPr lang="en-GB" sz="1100" dirty="0"/>
              <a:t>, The Netherlands (</a:t>
            </a:r>
            <a:r>
              <a:rPr lang="en-GB" sz="1100" dirty="0" err="1"/>
              <a:t>Swaans</a:t>
            </a:r>
            <a:r>
              <a:rPr lang="en-GB" sz="1100" dirty="0"/>
              <a:t> Martin, </a:t>
            </a:r>
            <a:r>
              <a:rPr lang="en-GB" sz="1100" dirty="0" err="1"/>
              <a:t>Timmers</a:t>
            </a:r>
            <a:r>
              <a:rPr lang="en-GB" sz="1100" dirty="0"/>
              <a:t> Leo, 29 pts.)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100" b="1" dirty="0"/>
              <a:t>Universitätsklinik der Ruhr-Universität Bochum Herz- und Diabeteszentrum Nordrhein-Westfalen</a:t>
            </a:r>
            <a:r>
              <a:rPr lang="de-DE" sz="1100" dirty="0"/>
              <a:t>, Bad Oeynhausen, Germany (Rudolph Tanja, Bleiziffer Sabine, 27 pts.)</a:t>
            </a:r>
          </a:p>
          <a:p>
            <a:pPr marL="228600" indent="-228600">
              <a:buFont typeface="+mj-lt"/>
              <a:buAutoNum type="arabicPeriod"/>
            </a:pPr>
            <a:r>
              <a:rPr lang="fr-FR" sz="1100" b="1" dirty="0"/>
              <a:t>Hôpital Cardiologique du Haut-</a:t>
            </a:r>
            <a:r>
              <a:rPr lang="fr-FR" sz="1100" b="1" dirty="0" err="1"/>
              <a:t>Lévêque</a:t>
            </a:r>
            <a:r>
              <a:rPr lang="fr-FR" sz="1100" dirty="0"/>
              <a:t>, </a:t>
            </a:r>
            <a:r>
              <a:rPr lang="de-DE" sz="1100" dirty="0"/>
              <a:t>Bordeaux, France (Leroux Lionel, </a:t>
            </a:r>
            <a:r>
              <a:rPr lang="de-DE" sz="1100" dirty="0" err="1"/>
              <a:t>Modine</a:t>
            </a:r>
            <a:r>
              <a:rPr lang="de-DE" sz="1100" dirty="0"/>
              <a:t> Thomas, 25 </a:t>
            </a:r>
            <a:r>
              <a:rPr lang="de-DE" sz="1100" dirty="0" err="1"/>
              <a:t>pts</a:t>
            </a:r>
            <a:r>
              <a:rPr lang="de-DE" sz="1100" dirty="0"/>
              <a:t>.)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100" b="1" dirty="0"/>
              <a:t>Leids University Medical Center</a:t>
            </a:r>
            <a:r>
              <a:rPr lang="de-DE" sz="1100" dirty="0"/>
              <a:t>, Leiden, The </a:t>
            </a:r>
            <a:r>
              <a:rPr lang="de-DE" sz="1100" dirty="0" err="1"/>
              <a:t>Netherlands</a:t>
            </a:r>
            <a:r>
              <a:rPr lang="de-DE" sz="1100" dirty="0"/>
              <a:t> (</a:t>
            </a:r>
            <a:r>
              <a:rPr lang="nl-NL" sz="1100" dirty="0"/>
              <a:t>Bax Jeroen, Frank van der Kley, 22 pts.)</a:t>
            </a:r>
          </a:p>
          <a:p>
            <a:pPr marL="228600" indent="-228600">
              <a:buFont typeface="+mj-lt"/>
              <a:buAutoNum type="arabicPeriod"/>
            </a:pPr>
            <a:r>
              <a:rPr lang="fr-FR" sz="1100" b="1" dirty="0"/>
              <a:t>CHU Rouen - </a:t>
            </a:r>
            <a:r>
              <a:rPr lang="fr-FR" sz="1100" b="1" dirty="0" err="1"/>
              <a:t>Hopital</a:t>
            </a:r>
            <a:r>
              <a:rPr lang="fr-FR" sz="1100" b="1" dirty="0"/>
              <a:t> Charles Nicolle</a:t>
            </a:r>
            <a:r>
              <a:rPr lang="fr-FR" sz="1100" dirty="0"/>
              <a:t>, Rouen, France (</a:t>
            </a:r>
            <a:r>
              <a:rPr lang="fr-FR" sz="1100" dirty="0" err="1"/>
              <a:t>Eltchaninoff</a:t>
            </a:r>
            <a:r>
              <a:rPr lang="fr-FR" sz="1100" dirty="0"/>
              <a:t> Hélène, 18 pts.)</a:t>
            </a:r>
          </a:p>
          <a:p>
            <a:pPr marL="228600" indent="-228600">
              <a:buFont typeface="+mj-lt"/>
              <a:buAutoNum type="arabicPeriod"/>
            </a:pPr>
            <a:r>
              <a:rPr lang="fr-FR" sz="1100" b="1" dirty="0"/>
              <a:t>CHU Rennes - </a:t>
            </a:r>
            <a:r>
              <a:rPr lang="fr-FR" sz="1100" b="1" dirty="0" err="1"/>
              <a:t>Hopital</a:t>
            </a:r>
            <a:r>
              <a:rPr lang="fr-FR" sz="1100" b="1" dirty="0"/>
              <a:t> de </a:t>
            </a:r>
            <a:r>
              <a:rPr lang="fr-FR" sz="1100" b="1" dirty="0" err="1"/>
              <a:t>Pontchaillou</a:t>
            </a:r>
            <a:r>
              <a:rPr lang="fr-FR" sz="1100" dirty="0"/>
              <a:t>, Rennes, France (</a:t>
            </a:r>
            <a:r>
              <a:rPr lang="fr-FR" sz="1100" dirty="0" err="1"/>
              <a:t>Auffret</a:t>
            </a:r>
            <a:r>
              <a:rPr lang="fr-FR" sz="1100" dirty="0"/>
              <a:t> Vincent, </a:t>
            </a:r>
            <a:r>
              <a:rPr lang="fr-FR" sz="1100" dirty="0" err="1"/>
              <a:t>Tomasi</a:t>
            </a:r>
            <a:r>
              <a:rPr lang="fr-FR" sz="1100" dirty="0"/>
              <a:t> Jacques, 18 pts.)</a:t>
            </a:r>
          </a:p>
          <a:p>
            <a:pPr marL="228600" indent="-228600">
              <a:buFont typeface="+mj-lt"/>
              <a:buAutoNum type="arabicPeriod"/>
            </a:pPr>
            <a:r>
              <a:rPr lang="fr-FR" sz="1100" b="1" dirty="0" err="1"/>
              <a:t>Universitätskliniken</a:t>
            </a:r>
            <a:r>
              <a:rPr lang="fr-FR" sz="1100" b="1" dirty="0"/>
              <a:t> Innsbruck</a:t>
            </a:r>
            <a:r>
              <a:rPr lang="fr-FR" sz="1100" dirty="0"/>
              <a:t>, Innsbruck, </a:t>
            </a:r>
            <a:r>
              <a:rPr lang="fr-FR" sz="1100" dirty="0" err="1"/>
              <a:t>Austria</a:t>
            </a:r>
            <a:r>
              <a:rPr lang="fr-FR" sz="1100" dirty="0"/>
              <a:t> (</a:t>
            </a:r>
            <a:r>
              <a:rPr lang="fr-FR" sz="1100" dirty="0" err="1"/>
              <a:t>Bonaros</a:t>
            </a:r>
            <a:r>
              <a:rPr lang="fr-FR" sz="1100" dirty="0"/>
              <a:t> </a:t>
            </a:r>
            <a:r>
              <a:rPr lang="fr-FR" sz="1100" dirty="0" err="1"/>
              <a:t>Nikolaos</a:t>
            </a:r>
            <a:r>
              <a:rPr lang="fr-FR" sz="1100" dirty="0"/>
              <a:t>, </a:t>
            </a:r>
            <a:r>
              <a:rPr lang="fr-FR" sz="1100" dirty="0" err="1"/>
              <a:t>Stastny</a:t>
            </a:r>
            <a:r>
              <a:rPr lang="fr-FR" sz="1100" dirty="0"/>
              <a:t> Lukas, 17 pts.)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100" b="1" dirty="0"/>
              <a:t>Allgemeines Krankenhaus der Stadt Wien</a:t>
            </a:r>
            <a:r>
              <a:rPr lang="de-DE" sz="1100" dirty="0"/>
              <a:t>, Vienna, Austria (Hengstenberg Christian, Andreas Martin, 17 </a:t>
            </a:r>
            <a:r>
              <a:rPr lang="de-DE" sz="1100" dirty="0" err="1"/>
              <a:t>pts</a:t>
            </a:r>
            <a:r>
              <a:rPr lang="de-DE" sz="1100" dirty="0"/>
              <a:t>.)</a:t>
            </a:r>
          </a:p>
          <a:p>
            <a:pPr marL="228600" indent="-228600">
              <a:buFont typeface="+mj-lt"/>
              <a:buAutoNum type="arabicPeriod"/>
            </a:pPr>
            <a:r>
              <a:rPr lang="fr-FR" sz="1100" b="1" dirty="0"/>
              <a:t>CHU Montpellier - </a:t>
            </a:r>
            <a:r>
              <a:rPr lang="fr-FR" sz="1100" b="1" dirty="0" err="1"/>
              <a:t>Hopital</a:t>
            </a:r>
            <a:r>
              <a:rPr lang="fr-FR" sz="1100" b="1" dirty="0"/>
              <a:t> Arnaud de Villeneuve</a:t>
            </a:r>
            <a:r>
              <a:rPr lang="fr-FR" sz="1100" dirty="0"/>
              <a:t>, Montpellier, France (Leclercq Florence, Gandet Thomas, 16 pts.)</a:t>
            </a:r>
          </a:p>
        </p:txBody>
      </p:sp>
    </p:spTree>
    <p:extLst>
      <p:ext uri="{BB962C8B-B14F-4D97-AF65-F5344CB8AC3E}">
        <p14:creationId xmlns:p14="http://schemas.microsoft.com/office/powerpoint/2010/main" val="258814988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4B4F79-3158-E517-E38A-83F31EAD20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ial Leadership</a:t>
            </a:r>
            <a:endParaRPr lang="nl-NL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82EDC0A-94F6-868B-311C-ED355DF13723}"/>
              </a:ext>
            </a:extLst>
          </p:cNvPr>
          <p:cNvSpPr txBox="1"/>
          <p:nvPr/>
        </p:nvSpPr>
        <p:spPr>
          <a:xfrm>
            <a:off x="429629" y="843558"/>
            <a:ext cx="3211408" cy="584775"/>
          </a:xfrm>
          <a:prstGeom prst="rect">
            <a:avLst/>
          </a:prstGeom>
          <a:solidFill>
            <a:schemeClr val="bg1">
              <a:lumMod val="85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AE1022"/>
                </a:solidFill>
              </a:rPr>
              <a:t>Principal investigators</a:t>
            </a:r>
            <a:r>
              <a:rPr lang="en-US" sz="1600" b="1" dirty="0"/>
              <a:t> </a:t>
            </a:r>
            <a:br>
              <a:rPr lang="en-US" sz="1600" dirty="0"/>
            </a:br>
            <a:r>
              <a:rPr lang="en-US" sz="1600" dirty="0"/>
              <a:t>Hélène Eltchaninoff, Didier Tchétché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77B0274-BD09-9192-9A22-832304E7F8E6}"/>
              </a:ext>
            </a:extLst>
          </p:cNvPr>
          <p:cNvSpPr txBox="1"/>
          <p:nvPr/>
        </p:nvSpPr>
        <p:spPr>
          <a:xfrm>
            <a:off x="5490968" y="843558"/>
            <a:ext cx="3257496" cy="1815882"/>
          </a:xfrm>
          <a:prstGeom prst="rect">
            <a:avLst/>
          </a:prstGeom>
          <a:solidFill>
            <a:schemeClr val="bg1">
              <a:lumMod val="85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AE1022"/>
                </a:solidFill>
              </a:rPr>
              <a:t>Steering committee</a:t>
            </a:r>
            <a:r>
              <a:rPr lang="en-US" sz="1600" b="1" dirty="0"/>
              <a:t> </a:t>
            </a:r>
            <a:br>
              <a:rPr lang="en-US" sz="1600" dirty="0"/>
            </a:br>
            <a:r>
              <a:rPr lang="en-US" sz="1600" dirty="0"/>
              <a:t>Nicolas Dumonteil, Fabian </a:t>
            </a:r>
            <a:r>
              <a:rPr lang="en-US" sz="1600" dirty="0" err="1"/>
              <a:t>Nietlispach</a:t>
            </a:r>
            <a:r>
              <a:rPr lang="en-US" sz="1600" dirty="0"/>
              <a:t>, Nikolaos </a:t>
            </a:r>
            <a:r>
              <a:rPr lang="en-US" sz="1600" dirty="0" err="1"/>
              <a:t>Bonaros</a:t>
            </a:r>
            <a:r>
              <a:rPr lang="en-US" sz="1600" dirty="0"/>
              <a:t>, Bernard Prendergast, Mariuca Vasa-Nicotera, Stephan </a:t>
            </a:r>
            <a:r>
              <a:rPr lang="en-US" sz="1600" dirty="0" err="1"/>
              <a:t>Windecker</a:t>
            </a:r>
            <a:r>
              <a:rPr lang="en-US" sz="1600" dirty="0"/>
              <a:t>, Philippe Pibarot, Jeroen </a:t>
            </a:r>
            <a:r>
              <a:rPr lang="en-US" sz="1600" dirty="0" err="1"/>
              <a:t>Bax</a:t>
            </a:r>
            <a:r>
              <a:rPr lang="en-US" sz="1600" dirty="0"/>
              <a:t>, </a:t>
            </a:r>
            <a:r>
              <a:rPr lang="en-US" sz="1600" dirty="0" err="1"/>
              <a:t>Alaide</a:t>
            </a:r>
            <a:r>
              <a:rPr lang="en-US" sz="1600" dirty="0"/>
              <a:t> </a:t>
            </a:r>
            <a:r>
              <a:rPr lang="en-US" sz="1600" dirty="0" err="1"/>
              <a:t>Chieffo</a:t>
            </a:r>
            <a:endParaRPr lang="en-US" sz="16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D16C6DF-8D2A-C927-9DA6-E0177F7861BA}"/>
              </a:ext>
            </a:extLst>
          </p:cNvPr>
          <p:cNvSpPr txBox="1"/>
          <p:nvPr/>
        </p:nvSpPr>
        <p:spPr>
          <a:xfrm>
            <a:off x="429630" y="1481404"/>
            <a:ext cx="3211408" cy="830997"/>
          </a:xfrm>
          <a:prstGeom prst="rect">
            <a:avLst/>
          </a:prstGeom>
          <a:solidFill>
            <a:schemeClr val="bg1">
              <a:lumMod val="85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AE1022"/>
                </a:solidFill>
              </a:rPr>
              <a:t>Data Safety Monitoring Board</a:t>
            </a:r>
            <a:r>
              <a:rPr lang="en-US" sz="1600" b="1" dirty="0"/>
              <a:t> </a:t>
            </a:r>
          </a:p>
          <a:p>
            <a:r>
              <a:rPr lang="en-US" sz="1600" dirty="0"/>
              <a:t>Marco </a:t>
            </a:r>
            <a:r>
              <a:rPr lang="en-US" sz="1600" dirty="0" err="1"/>
              <a:t>Barbanti</a:t>
            </a:r>
            <a:r>
              <a:rPr lang="en-US" sz="1600" dirty="0"/>
              <a:t>, Torsten </a:t>
            </a:r>
            <a:r>
              <a:rPr lang="en-US" sz="1600" dirty="0" err="1"/>
              <a:t>Doenst</a:t>
            </a:r>
            <a:r>
              <a:rPr lang="en-US" sz="1600" dirty="0"/>
              <a:t> </a:t>
            </a:r>
          </a:p>
          <a:p>
            <a:r>
              <a:rPr lang="en-US" sz="1600" dirty="0"/>
              <a:t>Katja </a:t>
            </a:r>
            <a:r>
              <a:rPr lang="en-US" sz="1600" dirty="0" err="1"/>
              <a:t>Bohmann</a:t>
            </a:r>
            <a:endParaRPr lang="en-US" sz="16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31F9A2-6063-AC8B-D66A-2E3722EEC47C}"/>
              </a:ext>
            </a:extLst>
          </p:cNvPr>
          <p:cNvSpPr txBox="1"/>
          <p:nvPr/>
        </p:nvSpPr>
        <p:spPr>
          <a:xfrm>
            <a:off x="429630" y="2369729"/>
            <a:ext cx="3211408" cy="830997"/>
          </a:xfrm>
          <a:prstGeom prst="rect">
            <a:avLst/>
          </a:prstGeom>
          <a:solidFill>
            <a:schemeClr val="bg1">
              <a:lumMod val="85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AE1022"/>
                </a:solidFill>
              </a:rPr>
              <a:t>Clinical Endpoint Committee</a:t>
            </a:r>
            <a:r>
              <a:rPr lang="en-US" sz="1600" b="1" dirty="0"/>
              <a:t> </a:t>
            </a:r>
          </a:p>
          <a:p>
            <a:r>
              <a:rPr lang="en-US" sz="1600" dirty="0"/>
              <a:t>Richard Steeds, Anna </a:t>
            </a:r>
            <a:r>
              <a:rPr lang="en-US" sz="1600" dirty="0" err="1"/>
              <a:t>Franzone</a:t>
            </a:r>
            <a:r>
              <a:rPr lang="en-US" sz="1600" dirty="0"/>
              <a:t> </a:t>
            </a:r>
          </a:p>
          <a:p>
            <a:r>
              <a:rPr lang="en-US" sz="1600" dirty="0"/>
              <a:t>Francesco Sai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E6D5893-4146-DAF6-7B79-2A399CDE7784}"/>
              </a:ext>
            </a:extLst>
          </p:cNvPr>
          <p:cNvSpPr txBox="1"/>
          <p:nvPr/>
        </p:nvSpPr>
        <p:spPr>
          <a:xfrm>
            <a:off x="5490968" y="2715766"/>
            <a:ext cx="3257496" cy="830997"/>
          </a:xfrm>
          <a:prstGeom prst="rect">
            <a:avLst/>
          </a:prstGeom>
          <a:solidFill>
            <a:schemeClr val="bg1">
              <a:lumMod val="85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AE1022"/>
                </a:solidFill>
              </a:rPr>
              <a:t>Core Labs</a:t>
            </a:r>
            <a:r>
              <a:rPr lang="en-US" sz="1600" b="1" dirty="0"/>
              <a:t> </a:t>
            </a:r>
            <a:r>
              <a:rPr lang="en-US" sz="1600" dirty="0"/>
              <a:t>	</a:t>
            </a:r>
          </a:p>
          <a:p>
            <a:r>
              <a:rPr lang="en-US" sz="1600" b="1" dirty="0"/>
              <a:t>CT</a:t>
            </a:r>
            <a:r>
              <a:rPr lang="en-US" sz="1600" dirty="0"/>
              <a:t>: David Messika-Zeitoun</a:t>
            </a:r>
            <a:br>
              <a:rPr lang="en-US" sz="1600" dirty="0"/>
            </a:br>
            <a:r>
              <a:rPr lang="en-US" sz="1600" b="1" dirty="0"/>
              <a:t>Echo</a:t>
            </a:r>
            <a:r>
              <a:rPr lang="en-US" sz="1600" dirty="0"/>
              <a:t>: Philippe Pibaro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9CA7D63-848D-52F8-8DA4-984A0B22FF30}"/>
              </a:ext>
            </a:extLst>
          </p:cNvPr>
          <p:cNvSpPr txBox="1"/>
          <p:nvPr/>
        </p:nvSpPr>
        <p:spPr>
          <a:xfrm>
            <a:off x="429629" y="3258054"/>
            <a:ext cx="3211408" cy="1077218"/>
          </a:xfrm>
          <a:prstGeom prst="rect">
            <a:avLst/>
          </a:prstGeom>
          <a:solidFill>
            <a:schemeClr val="bg1">
              <a:lumMod val="85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AE1022"/>
                </a:solidFill>
              </a:rPr>
              <a:t>Case Review Board</a:t>
            </a:r>
          </a:p>
          <a:p>
            <a:r>
              <a:rPr lang="en-US" sz="1600" dirty="0"/>
              <a:t>Didier Tchétché, Philippe Pibarot </a:t>
            </a:r>
          </a:p>
          <a:p>
            <a:r>
              <a:rPr lang="en-US" sz="1600" dirty="0"/>
              <a:t>Nicolas Dumonteil, other SC member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CD2F826-6012-31CD-6B1F-1DABAF6D10E2}"/>
              </a:ext>
            </a:extLst>
          </p:cNvPr>
          <p:cNvSpPr txBox="1"/>
          <p:nvPr/>
        </p:nvSpPr>
        <p:spPr>
          <a:xfrm>
            <a:off x="5490968" y="3603089"/>
            <a:ext cx="3257496" cy="338554"/>
          </a:xfrm>
          <a:prstGeom prst="rect">
            <a:avLst/>
          </a:prstGeom>
          <a:solidFill>
            <a:schemeClr val="bg1">
              <a:lumMod val="85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AE1022"/>
                </a:solidFill>
              </a:rPr>
              <a:t>Sponsor</a:t>
            </a:r>
            <a:r>
              <a:rPr lang="en-US" sz="1600" dirty="0"/>
              <a:t> Independent CRO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DDF9FD8-F612-01BB-FB49-A1EBF0FF1E36}"/>
              </a:ext>
            </a:extLst>
          </p:cNvPr>
          <p:cNvSpPr txBox="1"/>
          <p:nvPr/>
        </p:nvSpPr>
        <p:spPr>
          <a:xfrm>
            <a:off x="5490968" y="3974751"/>
            <a:ext cx="3257496" cy="338554"/>
          </a:xfrm>
          <a:prstGeom prst="rect">
            <a:avLst/>
          </a:prstGeom>
          <a:solidFill>
            <a:schemeClr val="bg1">
              <a:lumMod val="85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AE1022"/>
                </a:solidFill>
              </a:rPr>
              <a:t>Funder</a:t>
            </a:r>
            <a:r>
              <a:rPr lang="en-US" sz="1600" dirty="0"/>
              <a:t> Edwards Lifesciences</a:t>
            </a:r>
          </a:p>
        </p:txBody>
      </p:sp>
      <p:pic>
        <p:nvPicPr>
          <p:cNvPr id="13" name="Picture 12" descr="A logo with a flower&#10;&#10;Description automatically generated">
            <a:extLst>
              <a:ext uri="{FF2B5EF4-FFF2-40B4-BE49-F238E27FC236}">
                <a16:creationId xmlns:a16="http://schemas.microsoft.com/office/drawing/2014/main" id="{DE7B63E4-113C-F828-2A35-58A7580451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04925" y="2156251"/>
            <a:ext cx="1534149" cy="830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790540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46F0A736-D8B5-84EB-D157-7E2FF9ECF0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</a:t>
            </a:r>
            <a:r>
              <a:rPr lang="cs-CZ" dirty="0"/>
              <a:t> Inclusion and Exclusion Criteria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C4E926B-73CC-DDE5-08CB-4BD8B9AF47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6008" y="984584"/>
            <a:ext cx="4103984" cy="3027326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/>
          <a:p>
            <a:r>
              <a:rPr lang="cs-CZ" sz="1800" b="1" dirty="0"/>
              <a:t>Inclusion:</a:t>
            </a:r>
          </a:p>
          <a:p>
            <a:pPr>
              <a:lnSpc>
                <a:spcPct val="120000"/>
              </a:lnSpc>
            </a:pPr>
            <a:r>
              <a:rPr lang="en-US" sz="1800" b="0" dirty="0"/>
              <a:t>Women </a:t>
            </a:r>
            <a:r>
              <a:rPr lang="cs-CZ" sz="1800" b="0" dirty="0"/>
              <a:t>with severe symptomatic </a:t>
            </a:r>
            <a:r>
              <a:rPr lang="en-CA" sz="1800" b="0" dirty="0"/>
              <a:t>AS </a:t>
            </a:r>
            <a:r>
              <a:rPr lang="cs-CZ" sz="1800" b="0" dirty="0"/>
              <a:t>meeting the following criteria:</a:t>
            </a:r>
            <a:endParaRPr lang="en-US" sz="1800" b="0" dirty="0"/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cs-CZ" sz="1800" b="0" dirty="0"/>
              <a:t>High gradient severe AS</a:t>
            </a:r>
            <a:endParaRPr lang="fr-FR" sz="1800" b="0" dirty="0"/>
          </a:p>
          <a:p>
            <a:pPr lvl="1">
              <a:lnSpc>
                <a:spcPct val="120000"/>
              </a:lnSpc>
            </a:pPr>
            <a:r>
              <a:rPr lang="en-US" sz="1800" b="0" dirty="0"/>
              <a:t>or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cs-CZ" sz="1800" b="0" dirty="0"/>
              <a:t>Low gradient severe AS</a:t>
            </a:r>
            <a:endParaRPr lang="de-DE" sz="1800" b="0" dirty="0"/>
          </a:p>
          <a:p>
            <a:pPr>
              <a:lnSpc>
                <a:spcPct val="120000"/>
              </a:lnSpc>
            </a:pPr>
            <a:endParaRPr lang="de-DE" sz="1800" b="0" i="1" dirty="0"/>
          </a:p>
          <a:p>
            <a:pPr>
              <a:lnSpc>
                <a:spcPct val="120000"/>
              </a:lnSpc>
            </a:pPr>
            <a:r>
              <a:rPr lang="de-DE" sz="1800" b="0" i="1" dirty="0"/>
              <a:t>per ESC guidelines</a:t>
            </a:r>
            <a:endParaRPr lang="fr-FR" sz="1800" b="0" i="1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79BFF3A9-A7FD-1B92-30DC-1403CD5B0364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4822825" y="984584"/>
            <a:ext cx="3997175" cy="3027326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/>
          <a:p>
            <a:r>
              <a:rPr lang="cs-CZ" sz="1800" b="1" dirty="0"/>
              <a:t>Exclus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b="0" dirty="0"/>
              <a:t>Bicuspid</a:t>
            </a:r>
            <a:r>
              <a:rPr lang="en-US" sz="1800" b="0" dirty="0"/>
              <a:t> aortic val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 err="1"/>
              <a:t>Unicuspid</a:t>
            </a:r>
            <a:r>
              <a:rPr lang="en-US" sz="1800" b="0" dirty="0"/>
              <a:t> aortic val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/>
              <a:t>Non-calcified aortic val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/>
              <a:t>Complex coronary artery disea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/>
              <a:t>Other anatomical features increasing the risk of complications with TAVI or surgery</a:t>
            </a:r>
            <a:endParaRPr lang="cs-CZ" sz="1800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0944A92-69D0-5D24-9779-CA5ACDE935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6808" y="337665"/>
            <a:ext cx="978551" cy="587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795177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E6336B-BB68-774D-DC3D-DD46FA99E9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udy methodology</a:t>
            </a:r>
            <a:endParaRPr lang="nl-NL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3C11F0E-E33E-8C3F-7678-F2C4E8D9B1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000" y="1059582"/>
            <a:ext cx="7886700" cy="3913200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b="0" dirty="0"/>
              <a:t>Eligibility for study participation of each patient was assessed by multi-disciplinary Heart Team and Case Review Board</a:t>
            </a:r>
          </a:p>
          <a:p>
            <a:endParaRPr lang="en-US" sz="18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b="0" dirty="0"/>
              <a:t>Primary endpoint events were adjudicated by the CEC (VARC-2 definitions when applicable) that was blinded to treatment assignm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8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b="0" dirty="0"/>
              <a:t>30 day and 1 year clinical and echocardiography follow-up were collected and analyzed by core lab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ACA2E73-72B4-2B37-E663-445CEA3B16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16808" y="337665"/>
            <a:ext cx="978551" cy="587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488589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B17DAF-13E2-A622-7CC9-84AFBB5155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imary Endpoint</a:t>
            </a:r>
            <a:endParaRPr lang="nl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487572-A9BD-BC83-963C-5F999F493D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000" y="914400"/>
            <a:ext cx="8064424" cy="3913200"/>
          </a:xfrm>
        </p:spPr>
        <p:txBody>
          <a:bodyPr>
            <a:normAutofit/>
          </a:bodyPr>
          <a:lstStyle/>
          <a:p>
            <a:endParaRPr lang="en-US" sz="1800" dirty="0"/>
          </a:p>
          <a:p>
            <a:endParaRPr lang="en-US" sz="1800" dirty="0"/>
          </a:p>
          <a:p>
            <a:r>
              <a:rPr lang="en-US" dirty="0"/>
              <a:t>Composite</a:t>
            </a:r>
            <a:r>
              <a:rPr lang="en-US" b="0" dirty="0"/>
              <a:t> of </a:t>
            </a:r>
            <a:r>
              <a:rPr lang="en-US" dirty="0"/>
              <a:t>all-cause mortality</a:t>
            </a:r>
            <a:r>
              <a:rPr lang="en-US" b="0" dirty="0"/>
              <a:t>, </a:t>
            </a:r>
            <a:r>
              <a:rPr lang="en-US" dirty="0"/>
              <a:t>stroke</a:t>
            </a:r>
            <a:r>
              <a:rPr lang="en-US" b="0" dirty="0"/>
              <a:t>, and </a:t>
            </a:r>
            <a:r>
              <a:rPr lang="en-US" dirty="0"/>
              <a:t>rehospitalization</a:t>
            </a:r>
            <a:r>
              <a:rPr lang="en-US" b="0" dirty="0"/>
              <a:t> for valve or procedure-related symptoms or worsening heart failure within one year of randomization</a:t>
            </a:r>
          </a:p>
          <a:p>
            <a:endParaRPr lang="en-US" sz="18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6CE75A9-09B6-74C7-CDD7-94A1D20228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16808" y="337665"/>
            <a:ext cx="978551" cy="587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96898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1BBACB9-FA77-C75D-F475-89338A583A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BBACB9-FA77-C75D-F475-89338A583A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44BBF99F-0C53-C921-C9CE-B555CC112C2F}"/>
              </a:ext>
            </a:extLst>
          </p:cNvPr>
          <p:cNvCxnSpPr>
            <a:cxnSpLocks/>
            <a:stCxn id="2" idx="2"/>
            <a:endCxn id="10" idx="0"/>
          </p:cNvCxnSpPr>
          <p:nvPr/>
        </p:nvCxnSpPr>
        <p:spPr>
          <a:xfrm>
            <a:off x="5797868" y="1292403"/>
            <a:ext cx="0" cy="192427"/>
          </a:xfrm>
          <a:prstGeom prst="straightConnector1">
            <a:avLst/>
          </a:prstGeom>
          <a:ln w="19050">
            <a:solidFill>
              <a:srgbClr val="B9B9B9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47B496F9-ACCC-5966-7A2B-4F5F62422FFF}"/>
              </a:ext>
            </a:extLst>
          </p:cNvPr>
          <p:cNvCxnSpPr>
            <a:cxnSpLocks/>
            <a:stCxn id="10" idx="2"/>
            <a:endCxn id="11" idx="0"/>
          </p:cNvCxnSpPr>
          <p:nvPr/>
        </p:nvCxnSpPr>
        <p:spPr>
          <a:xfrm rot="10800000" flipV="1">
            <a:off x="3861269" y="1722155"/>
            <a:ext cx="860891" cy="185753"/>
          </a:xfrm>
          <a:prstGeom prst="bentConnector2">
            <a:avLst/>
          </a:prstGeom>
          <a:ln w="19050">
            <a:solidFill>
              <a:srgbClr val="B9B9B9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7571F41E-6DDB-7101-5B3B-AF2DB3DFCFAB}"/>
              </a:ext>
            </a:extLst>
          </p:cNvPr>
          <p:cNvCxnSpPr>
            <a:cxnSpLocks/>
            <a:stCxn id="10" idx="6"/>
            <a:endCxn id="12" idx="0"/>
          </p:cNvCxnSpPr>
          <p:nvPr/>
        </p:nvCxnSpPr>
        <p:spPr>
          <a:xfrm>
            <a:off x="6873576" y="1722156"/>
            <a:ext cx="860893" cy="185753"/>
          </a:xfrm>
          <a:prstGeom prst="bentConnector2">
            <a:avLst/>
          </a:prstGeom>
          <a:ln w="19050">
            <a:solidFill>
              <a:srgbClr val="B9B9B9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7" name="Group 86">
            <a:extLst>
              <a:ext uri="{FF2B5EF4-FFF2-40B4-BE49-F238E27FC236}">
                <a16:creationId xmlns:a16="http://schemas.microsoft.com/office/drawing/2014/main" id="{46435708-17E0-1C07-9C32-009D3A1B081E}"/>
              </a:ext>
            </a:extLst>
          </p:cNvPr>
          <p:cNvGrpSpPr/>
          <p:nvPr/>
        </p:nvGrpSpPr>
        <p:grpSpPr>
          <a:xfrm>
            <a:off x="3861266" y="2385377"/>
            <a:ext cx="3873203" cy="194987"/>
            <a:chOff x="5148355" y="3448957"/>
            <a:chExt cx="5164270" cy="281470"/>
          </a:xfrm>
        </p:grpSpPr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984E703F-CD80-A692-41EC-3F2D755D6071}"/>
                </a:ext>
              </a:extLst>
            </p:cNvPr>
            <p:cNvCxnSpPr>
              <a:cxnSpLocks/>
              <a:stCxn id="11" idx="2"/>
            </p:cNvCxnSpPr>
            <p:nvPr/>
          </p:nvCxnSpPr>
          <p:spPr>
            <a:xfrm flipH="1">
              <a:off x="5148355" y="3448957"/>
              <a:ext cx="1" cy="281470"/>
            </a:xfrm>
            <a:prstGeom prst="straightConnector1">
              <a:avLst/>
            </a:prstGeom>
            <a:ln w="19050">
              <a:solidFill>
                <a:srgbClr val="B9B9B9"/>
              </a:solidFill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2560FC23-581D-8FF9-9D49-86387034F869}"/>
                </a:ext>
              </a:extLst>
            </p:cNvPr>
            <p:cNvCxnSpPr>
              <a:cxnSpLocks/>
              <a:stCxn id="12" idx="2"/>
            </p:cNvCxnSpPr>
            <p:nvPr/>
          </p:nvCxnSpPr>
          <p:spPr>
            <a:xfrm flipH="1">
              <a:off x="10312624" y="3448957"/>
              <a:ext cx="1" cy="281470"/>
            </a:xfrm>
            <a:prstGeom prst="straightConnector1">
              <a:avLst/>
            </a:prstGeom>
            <a:ln w="19050">
              <a:solidFill>
                <a:srgbClr val="B9B9B9"/>
              </a:solidFill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itre 1">
            <a:extLst>
              <a:ext uri="{FF2B5EF4-FFF2-40B4-BE49-F238E27FC236}">
                <a16:creationId xmlns:a16="http://schemas.microsoft.com/office/drawing/2014/main" id="{2C20A927-4911-7076-C4B2-1E5967180F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/>
              <a:t>R</a:t>
            </a:r>
            <a:r>
              <a:rPr lang="cs-CZ" dirty="0"/>
              <a:t>HEIA Trial Design</a:t>
            </a:r>
            <a:r>
              <a:rPr lang="en-US" dirty="0"/>
              <a:t> 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0AA02A8-516E-071D-B782-AA446C82B78F}"/>
              </a:ext>
            </a:extLst>
          </p:cNvPr>
          <p:cNvSpPr/>
          <p:nvPr/>
        </p:nvSpPr>
        <p:spPr>
          <a:xfrm>
            <a:off x="3000375" y="969238"/>
            <a:ext cx="5594985" cy="323165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8580" bIns="68580" rtlCol="0" anchor="t">
            <a:spAutoFit/>
          </a:bodyPr>
          <a:lstStyle/>
          <a:p>
            <a:pPr algn="ctr" defTabSz="457178">
              <a:defRPr/>
            </a:pPr>
            <a:r>
              <a:rPr lang="en-US" sz="1200" b="1" dirty="0">
                <a:solidFill>
                  <a:srgbClr val="FFFFFF"/>
                </a:solidFill>
                <a:latin typeface="Arial"/>
              </a:rPr>
              <a:t>Women with symptomatic severe AS</a:t>
            </a:r>
            <a:endParaRPr lang="nl-NL" sz="1200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2B43D0F-59E4-55DB-153C-2E42574DCE13}"/>
              </a:ext>
            </a:extLst>
          </p:cNvPr>
          <p:cNvSpPr/>
          <p:nvPr/>
        </p:nvSpPr>
        <p:spPr>
          <a:xfrm>
            <a:off x="395536" y="972422"/>
            <a:ext cx="2225318" cy="1963364"/>
          </a:xfrm>
          <a:prstGeom prst="rect">
            <a:avLst/>
          </a:prstGeom>
          <a:gradFill>
            <a:gsLst>
              <a:gs pos="0">
                <a:srgbClr val="898D8D">
                  <a:alpha val="35000"/>
                </a:srgbClr>
              </a:gs>
              <a:gs pos="68000">
                <a:srgbClr val="898D8D">
                  <a:alpha val="0"/>
                </a:srgbClr>
              </a:gs>
            </a:gsLst>
            <a:lin ang="5400000" scaled="1"/>
          </a:gradFill>
        </p:spPr>
        <p:txBody>
          <a:bodyPr vert="horz" wrap="square" lIns="68580" tIns="68580" rIns="68580" bIns="68580" rtlCol="0">
            <a:noAutofit/>
          </a:bodyPr>
          <a:lstStyle/>
          <a:p>
            <a:pPr defTabSz="457189">
              <a:lnSpc>
                <a:spcPct val="110000"/>
              </a:lnSpc>
              <a:spcBef>
                <a:spcPts val="600"/>
              </a:spcBef>
              <a:buClr>
                <a:srgbClr val="C8102E"/>
              </a:buClr>
              <a:buSzPct val="110000"/>
              <a:defRPr/>
            </a:pPr>
            <a:r>
              <a:rPr lang="en-US" sz="1200" b="1" dirty="0">
                <a:solidFill>
                  <a:srgbClr val="505759"/>
                </a:solidFill>
                <a:latin typeface="Arial"/>
              </a:rPr>
              <a:t>Investigator initiated, multicenter, international RCT to evaluate safety and efficacy of TAVI vs. Surgery in women with symptomatic severe AS</a:t>
            </a:r>
          </a:p>
          <a:p>
            <a:pPr defTabSz="457189">
              <a:lnSpc>
                <a:spcPct val="110000"/>
              </a:lnSpc>
              <a:spcBef>
                <a:spcPts val="600"/>
              </a:spcBef>
              <a:buClr>
                <a:srgbClr val="C8102E"/>
              </a:buClr>
              <a:buSzPct val="110000"/>
              <a:defRPr/>
            </a:pPr>
            <a:endParaRPr lang="en-US" sz="1200" b="1" dirty="0">
              <a:solidFill>
                <a:srgbClr val="505759"/>
              </a:solidFill>
              <a:latin typeface="Arial"/>
            </a:endParaRPr>
          </a:p>
          <a:p>
            <a:pPr defTabSz="457189">
              <a:lnSpc>
                <a:spcPct val="110000"/>
              </a:lnSpc>
              <a:spcBef>
                <a:spcPts val="600"/>
              </a:spcBef>
              <a:buClr>
                <a:srgbClr val="C8102E"/>
              </a:buClr>
              <a:buSzPct val="110000"/>
              <a:defRPr/>
            </a:pPr>
            <a:endParaRPr lang="nl-NL" sz="1200" b="1" dirty="0">
              <a:solidFill>
                <a:srgbClr val="505759"/>
              </a:solidFill>
              <a:latin typeface="Arial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72B27225-2927-5D72-493B-216AE5B758D8}"/>
              </a:ext>
            </a:extLst>
          </p:cNvPr>
          <p:cNvSpPr/>
          <p:nvPr/>
        </p:nvSpPr>
        <p:spPr>
          <a:xfrm>
            <a:off x="4722159" y="1484830"/>
            <a:ext cx="2151417" cy="474651"/>
          </a:xfrm>
          <a:prstGeom prst="ellipse">
            <a:avLst/>
          </a:prstGeom>
          <a:solidFill>
            <a:srgbClr val="002060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 defTabSz="457178">
              <a:defRPr/>
            </a:pPr>
            <a:r>
              <a:rPr lang="en-US" sz="1200" b="1" dirty="0">
                <a:solidFill>
                  <a:srgbClr val="FFFFFF"/>
                </a:solidFill>
                <a:latin typeface="Arial"/>
              </a:rPr>
              <a:t>1:1 Randomization </a:t>
            </a:r>
            <a:r>
              <a:rPr lang="en-US" sz="1200" dirty="0">
                <a:solidFill>
                  <a:srgbClr val="FFFFFF"/>
                </a:solidFill>
                <a:latin typeface="Arial"/>
              </a:rPr>
              <a:t>440 patients</a:t>
            </a:r>
            <a:endParaRPr lang="nl-NL" sz="12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EB10F15-3638-43E5-6441-A5831BA4DB05}"/>
              </a:ext>
            </a:extLst>
          </p:cNvPr>
          <p:cNvSpPr/>
          <p:nvPr/>
        </p:nvSpPr>
        <p:spPr>
          <a:xfrm>
            <a:off x="3000376" y="1907909"/>
            <a:ext cx="1721783" cy="696950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>
              <a:defRPr/>
            </a:pPr>
            <a:r>
              <a:rPr lang="en-US" sz="1200" b="1" dirty="0">
                <a:solidFill>
                  <a:srgbClr val="FFFFFF"/>
                </a:solidFill>
                <a:latin typeface="Arial"/>
              </a:rPr>
              <a:t>TAVI</a:t>
            </a:r>
            <a:endParaRPr lang="cs-CZ" sz="1200" b="1" dirty="0">
              <a:solidFill>
                <a:srgbClr val="FFFFFF"/>
              </a:solidFill>
              <a:latin typeface="Arial"/>
            </a:endParaRPr>
          </a:p>
          <a:p>
            <a:pPr algn="ctr" defTabSz="457178">
              <a:defRPr/>
            </a:pPr>
            <a:r>
              <a:rPr lang="en-US" sz="1200" dirty="0">
                <a:solidFill>
                  <a:srgbClr val="FFFFFF"/>
                </a:solidFill>
                <a:latin typeface="Arial"/>
              </a:rPr>
              <a:t>Sapien 3 / </a:t>
            </a:r>
            <a:r>
              <a:rPr lang="cs-CZ" sz="1200" dirty="0">
                <a:solidFill>
                  <a:srgbClr val="FFFFFF"/>
                </a:solidFill>
                <a:latin typeface="Arial"/>
              </a:rPr>
              <a:t>Sapien 3U</a:t>
            </a:r>
            <a:endParaRPr lang="en-US" sz="12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4440C5E-FE4B-A967-9771-2C77E7A9DB73}"/>
              </a:ext>
            </a:extLst>
          </p:cNvPr>
          <p:cNvSpPr/>
          <p:nvPr/>
        </p:nvSpPr>
        <p:spPr>
          <a:xfrm>
            <a:off x="6873577" y="1907909"/>
            <a:ext cx="1721783" cy="696950"/>
          </a:xfrm>
          <a:prstGeom prst="rect">
            <a:avLst/>
          </a:prstGeom>
          <a:solidFill>
            <a:srgbClr val="C00000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68580" rIns="72000" bIns="68580" rtlCol="0" anchor="ctr"/>
          <a:lstStyle/>
          <a:p>
            <a:pPr algn="ctr" defTabSz="457178">
              <a:defRPr/>
            </a:pPr>
            <a:r>
              <a:rPr lang="en-US" sz="1200" b="1" dirty="0">
                <a:solidFill>
                  <a:srgbClr val="FFFFFF"/>
                </a:solidFill>
                <a:latin typeface="Arial"/>
              </a:rPr>
              <a:t>Surgery</a:t>
            </a:r>
          </a:p>
          <a:p>
            <a:pPr algn="ctr" defTabSz="457178">
              <a:defRPr/>
            </a:pPr>
            <a:r>
              <a:rPr lang="en-US" sz="1200" dirty="0">
                <a:solidFill>
                  <a:srgbClr val="FFFFFF"/>
                </a:solidFill>
                <a:latin typeface="Arial"/>
              </a:rPr>
              <a:t>Any commercially available </a:t>
            </a:r>
            <a:r>
              <a:rPr lang="cs-CZ" sz="1200" dirty="0">
                <a:solidFill>
                  <a:srgbClr val="FFFFFF"/>
                </a:solidFill>
                <a:latin typeface="Arial"/>
              </a:rPr>
              <a:t>surgical </a:t>
            </a:r>
            <a:r>
              <a:rPr lang="en-US" sz="1200" dirty="0">
                <a:solidFill>
                  <a:srgbClr val="FFFFFF"/>
                </a:solidFill>
                <a:latin typeface="Arial"/>
              </a:rPr>
              <a:t>valv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F0B9E4C-4BF0-75CF-F70C-96B924C55EBC}"/>
              </a:ext>
            </a:extLst>
          </p:cNvPr>
          <p:cNvSpPr/>
          <p:nvPr/>
        </p:nvSpPr>
        <p:spPr>
          <a:xfrm>
            <a:off x="3000375" y="2935786"/>
            <a:ext cx="5594985" cy="69249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8580" bIns="68580" rtlCol="0" anchor="ctr">
            <a:spAutoFit/>
          </a:bodyPr>
          <a:lstStyle/>
          <a:p>
            <a:pPr algn="ctr" defTabSz="457178">
              <a:defRPr/>
            </a:pPr>
            <a:r>
              <a:rPr lang="en-US" sz="1200" b="1" dirty="0">
                <a:solidFill>
                  <a:srgbClr val="FFFFFF"/>
                </a:solidFill>
                <a:latin typeface="Arial"/>
              </a:rPr>
              <a:t>PRIMARY ENDPOINT</a:t>
            </a:r>
            <a:br>
              <a:rPr lang="en-US" sz="1200" dirty="0">
                <a:solidFill>
                  <a:srgbClr val="FFFFFF"/>
                </a:solidFill>
                <a:latin typeface="Arial"/>
              </a:rPr>
            </a:br>
            <a:r>
              <a:rPr lang="en-US" sz="1200" dirty="0">
                <a:solidFill>
                  <a:srgbClr val="FFFFFF"/>
                </a:solidFill>
                <a:latin typeface="Arial"/>
              </a:rPr>
              <a:t>C</a:t>
            </a:r>
            <a:r>
              <a:rPr lang="en-US" sz="1200" b="1" dirty="0">
                <a:solidFill>
                  <a:schemeClr val="bg1"/>
                </a:solidFill>
                <a:latin typeface="Arial"/>
              </a:rPr>
              <a:t>omposite endpoint at 1 year post procedure:</a:t>
            </a:r>
            <a:br>
              <a:rPr lang="en-US" sz="1200" b="1" dirty="0">
                <a:solidFill>
                  <a:schemeClr val="bg1"/>
                </a:solidFill>
                <a:latin typeface="Arial"/>
              </a:rPr>
            </a:br>
            <a:r>
              <a:rPr lang="en-US" sz="1200" b="1" dirty="0">
                <a:solidFill>
                  <a:schemeClr val="bg1"/>
                </a:solidFill>
                <a:latin typeface="Arial"/>
              </a:rPr>
              <a:t>all cause MORTALITY, all STROKE and REHOSPITALIZATION</a:t>
            </a:r>
            <a:endParaRPr lang="nl-NL" sz="1200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9BE89A-CC43-2176-1EB8-1164B5574A74}"/>
              </a:ext>
            </a:extLst>
          </p:cNvPr>
          <p:cNvSpPr/>
          <p:nvPr/>
        </p:nvSpPr>
        <p:spPr>
          <a:xfrm>
            <a:off x="3000375" y="3947669"/>
            <a:ext cx="5594985" cy="507831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8580" bIns="68580" rtlCol="0" anchor="ctr">
            <a:spAutoFit/>
          </a:bodyPr>
          <a:lstStyle/>
          <a:p>
            <a:pPr algn="ctr" defTabSz="457178">
              <a:defRPr/>
            </a:pPr>
            <a:r>
              <a:rPr lang="cs-CZ" sz="1200" b="1" dirty="0">
                <a:solidFill>
                  <a:srgbClr val="FFFFFF"/>
                </a:solidFill>
                <a:latin typeface="Arial"/>
              </a:rPr>
              <a:t>STUDY VISITS</a:t>
            </a:r>
            <a:br>
              <a:rPr lang="en-US" sz="1200" b="1" dirty="0">
                <a:solidFill>
                  <a:srgbClr val="FFFFFF"/>
                </a:solidFill>
                <a:latin typeface="Arial"/>
              </a:rPr>
            </a:br>
            <a:r>
              <a:rPr lang="en-US" sz="1200" dirty="0">
                <a:solidFill>
                  <a:srgbClr val="FFFFFF"/>
                </a:solidFill>
                <a:latin typeface="Arial"/>
              </a:rPr>
              <a:t>Screening, procedure, post-procedure, discharge, 30 days, and 1 year </a:t>
            </a:r>
            <a:endParaRPr lang="nl-NL" sz="1200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A747D87-6720-5CD3-A9B5-9C1E5D889A8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16808" y="337665"/>
            <a:ext cx="978551" cy="587131"/>
          </a:xfrm>
          <a:prstGeom prst="rect">
            <a:avLst/>
          </a:prstGeom>
        </p:spPr>
      </p:pic>
      <p:sp>
        <p:nvSpPr>
          <p:cNvPr id="22" name="Content Placeholder 9">
            <a:extLst>
              <a:ext uri="{FF2B5EF4-FFF2-40B4-BE49-F238E27FC236}">
                <a16:creationId xmlns:a16="http://schemas.microsoft.com/office/drawing/2014/main" id="{79BFF3A9-A7FD-1B92-30DC-1403CD5B0364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395536" y="2935787"/>
            <a:ext cx="2225318" cy="1519713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/>
          <a:p>
            <a:r>
              <a:rPr lang="cs-CZ" sz="1200" b="1" dirty="0">
                <a:latin typeface="Arial" panose="020B0604020202020204" pitchFamily="34" charset="0"/>
                <a:cs typeface="Arial" panose="020B0604020202020204" pitchFamily="34" charset="0"/>
              </a:rPr>
              <a:t>Exclusion</a:t>
            </a: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 criteria</a:t>
            </a:r>
            <a:r>
              <a:rPr lang="cs-CZ" sz="1200" b="1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cs-CZ" sz="1000" b="0" dirty="0">
                <a:latin typeface="Arial" panose="020B0604020202020204" pitchFamily="34" charset="0"/>
                <a:cs typeface="Arial" panose="020B0604020202020204" pitchFamily="34" charset="0"/>
              </a:rPr>
              <a:t>Bicuspid</a:t>
            </a:r>
            <a:r>
              <a:rPr lang="en-US" sz="1000" b="0" dirty="0">
                <a:latin typeface="Arial" panose="020B0604020202020204" pitchFamily="34" charset="0"/>
                <a:cs typeface="Arial" panose="020B0604020202020204" pitchFamily="34" charset="0"/>
              </a:rPr>
              <a:t> aortic valve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000" b="0" dirty="0">
                <a:latin typeface="Arial" panose="020B0604020202020204" pitchFamily="34" charset="0"/>
                <a:cs typeface="Arial" panose="020B0604020202020204" pitchFamily="34" charset="0"/>
              </a:rPr>
              <a:t>Non-calcified aortic valve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000" b="0" dirty="0">
                <a:latin typeface="Arial" panose="020B0604020202020204" pitchFamily="34" charset="0"/>
                <a:cs typeface="Arial" panose="020B0604020202020204" pitchFamily="34" charset="0"/>
              </a:rPr>
              <a:t>Complex coronary artery disease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000" b="0" dirty="0">
                <a:latin typeface="Arial" panose="020B0604020202020204" pitchFamily="34" charset="0"/>
                <a:cs typeface="Arial" panose="020B0604020202020204" pitchFamily="34" charset="0"/>
              </a:rPr>
              <a:t>Other anatomical features increasing the risk of complications with TAVI or surgery</a:t>
            </a:r>
            <a:endParaRPr lang="cs-CZ" sz="10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358622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0F13E0-9128-6126-2E07-FC7173242C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size calculation</a:t>
            </a:r>
            <a:endParaRPr lang="nl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AB6FB4-3BF8-A1FC-B2A9-8B3423BC00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536" y="1240696"/>
            <a:ext cx="7992416" cy="39132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/>
              <a:t>Assumed </a:t>
            </a:r>
            <a:r>
              <a:rPr lang="en-US" sz="1800" dirty="0"/>
              <a:t>event rates </a:t>
            </a:r>
            <a:r>
              <a:rPr lang="en-US" sz="1800" b="0" dirty="0"/>
              <a:t>for the primary endpoint: </a:t>
            </a:r>
            <a:r>
              <a:rPr lang="en-US" sz="1600" b="0" dirty="0"/>
              <a:t>16% for Surgery vs. 8% for TAVI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8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b="0" dirty="0"/>
              <a:t>Sample size of </a:t>
            </a:r>
            <a:r>
              <a:rPr lang="en-US" sz="1800" dirty="0"/>
              <a:t>132</a:t>
            </a:r>
            <a:r>
              <a:rPr lang="en-US" sz="1800" b="0" dirty="0"/>
              <a:t> patients provides 80% power to demonstrate </a:t>
            </a:r>
            <a:r>
              <a:rPr lang="en-US" sz="1800" dirty="0"/>
              <a:t>non-inferiority</a:t>
            </a:r>
            <a:r>
              <a:rPr lang="en-US" sz="1800" b="0" dirty="0"/>
              <a:t> with a margin of 6.0% and a one-sided alpha of 0.05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8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b="0" dirty="0"/>
              <a:t>Sample size of </a:t>
            </a:r>
            <a:r>
              <a:rPr lang="en-US" sz="1800" dirty="0"/>
              <a:t>402</a:t>
            </a:r>
            <a:r>
              <a:rPr lang="en-US" sz="1800" b="0" dirty="0"/>
              <a:t> patients provides 70% power to demonstrate </a:t>
            </a:r>
            <a:r>
              <a:rPr lang="en-US" sz="1800" dirty="0"/>
              <a:t>superiority</a:t>
            </a:r>
            <a:r>
              <a:rPr lang="en-US" sz="1800" b="0" dirty="0"/>
              <a:t> with a  two-sided alpha 0.05 </a:t>
            </a:r>
            <a:r>
              <a:rPr lang="en-US" sz="1800" b="0" dirty="0">
                <a:latin typeface="Arial" charset="0"/>
                <a:ea typeface="ヒラギノ角ゴ Pro W3"/>
                <a:cs typeface="Arial" charset="0"/>
              </a:rPr>
              <a:t>(increased to 440 patients for  loss to follow-up, withdrawals and other contingencies)</a:t>
            </a:r>
            <a:endParaRPr lang="en-US" sz="1600" b="0" dirty="0">
              <a:latin typeface="Arial" charset="0"/>
              <a:ea typeface="ヒラギノ角ゴ Pro W3"/>
              <a:cs typeface="Arial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NL" sz="1800" b="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F6C8237-16CB-689C-F21A-869EE5473C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16808" y="337665"/>
            <a:ext cx="978551" cy="587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397533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61DBA5-9B29-D20C-C663-6D3E79EE2A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istical analysis</a:t>
            </a:r>
            <a:endParaRPr lang="nl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31FCED-4F14-3E5F-CAA1-83CF22B86E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0443" y="1230300"/>
            <a:ext cx="7886700" cy="3913200"/>
          </a:xfrm>
        </p:spPr>
        <p:txBody>
          <a:bodyPr>
            <a:normAutofit/>
          </a:bodyPr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SzPct val="120000"/>
              <a:buFont typeface="Arial" panose="020B0604020202020204" pitchFamily="34" charset="0"/>
              <a:buChar char="•"/>
            </a:pPr>
            <a:r>
              <a:rPr lang="en-US" sz="1800" dirty="0"/>
              <a:t>Non-inferiority Testing for Primary Endpoint</a:t>
            </a:r>
          </a:p>
          <a:p>
            <a:pPr marL="552450" lvl="1" indent="-285750">
              <a:spcBef>
                <a:spcPts val="0"/>
              </a:spcBef>
              <a:spcAft>
                <a:spcPts val="1200"/>
              </a:spcAft>
              <a:buSzPct val="100000"/>
              <a:buFont typeface="Wingdings" panose="05000000000000000000" pitchFamily="2" charset="2"/>
              <a:buChar char="§"/>
            </a:pPr>
            <a:r>
              <a:rPr lang="en-US" sz="1800" dirty="0"/>
              <a:t>Upper bound of the 95% CI for the risk difference (TAVR-surgery) less than the pre-specified non-inferiority margin of 6%</a:t>
            </a:r>
          </a:p>
          <a:p>
            <a:pPr marL="268287" lvl="1">
              <a:spcBef>
                <a:spcPts val="0"/>
              </a:spcBef>
              <a:spcAft>
                <a:spcPts val="1200"/>
              </a:spcAft>
              <a:buSzPct val="100000"/>
            </a:pPr>
            <a:r>
              <a:rPr lang="en-US" sz="1800" dirty="0"/>
              <a:t> 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SzPct val="120000"/>
              <a:buFont typeface="Arial" panose="020B0604020202020204" pitchFamily="34" charset="0"/>
              <a:buChar char="•"/>
            </a:pPr>
            <a:r>
              <a:rPr lang="en-US" sz="1800" dirty="0">
                <a:ea typeface="ヒラギノ角ゴ Pro W3"/>
                <a:cs typeface="Arial" charset="0"/>
              </a:rPr>
              <a:t>Superiority Testing for Primary Endpoint</a:t>
            </a:r>
          </a:p>
          <a:p>
            <a:pPr marL="552450" lvl="1" indent="-285750">
              <a:spcBef>
                <a:spcPts val="0"/>
              </a:spcBef>
              <a:spcAft>
                <a:spcPts val="1200"/>
              </a:spcAft>
              <a:buSzPct val="100000"/>
              <a:buFont typeface="Wingdings" panose="05000000000000000000" pitchFamily="2" charset="2"/>
              <a:buChar char="§"/>
            </a:pPr>
            <a:r>
              <a:rPr lang="en-US" sz="1800" dirty="0">
                <a:ea typeface="ヒラギノ角ゴ Pro W3"/>
                <a:cs typeface="Arial" charset="0"/>
              </a:rPr>
              <a:t>If non-inferiority hypothesis met, superiority testing performed using a 2-sided alpha 0.0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+mj-l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B5335A2-EAC0-3A42-4568-D27B270774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16808" y="337665"/>
            <a:ext cx="978551" cy="587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60949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1923F42-4C6E-7FFC-16B8-81FFCBBFE1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tient Enrollment</a:t>
            </a:r>
            <a:endParaRPr lang="nl-NL" dirty="0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D632134E-1F70-A2AA-CD42-D0DD57390806}"/>
              </a:ext>
            </a:extLst>
          </p:cNvPr>
          <p:cNvSpPr/>
          <p:nvPr/>
        </p:nvSpPr>
        <p:spPr>
          <a:xfrm>
            <a:off x="1024946" y="1281985"/>
            <a:ext cx="4392488" cy="720080"/>
          </a:xfrm>
          <a:prstGeom prst="roundRect">
            <a:avLst/>
          </a:prstGeom>
          <a:ln>
            <a:solidFill>
              <a:srgbClr val="00206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Patients </a:t>
            </a:r>
            <a:r>
              <a:rPr lang="en-US" b="1" dirty="0"/>
              <a:t>screened</a:t>
            </a:r>
            <a:r>
              <a:rPr lang="en-US" dirty="0"/>
              <a:t> between November 2019 and March 2023 (N=490)</a:t>
            </a:r>
            <a:endParaRPr lang="nl-NL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C9B7D1B-4CC9-A550-EEE9-0F0C9766EF5E}"/>
              </a:ext>
            </a:extLst>
          </p:cNvPr>
          <p:cNvSpPr/>
          <p:nvPr/>
        </p:nvSpPr>
        <p:spPr>
          <a:xfrm>
            <a:off x="1024946" y="2503566"/>
            <a:ext cx="4392488" cy="720080"/>
          </a:xfrm>
          <a:prstGeom prst="roundRect">
            <a:avLst/>
          </a:prstGeom>
          <a:ln>
            <a:solidFill>
              <a:srgbClr val="00206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Eligible for </a:t>
            </a:r>
            <a:r>
              <a:rPr lang="en-US" b="1" dirty="0"/>
              <a:t>Enrollment</a:t>
            </a:r>
            <a:r>
              <a:rPr lang="en-US" dirty="0"/>
              <a:t> and </a:t>
            </a:r>
            <a:r>
              <a:rPr lang="en-US" b="1" dirty="0"/>
              <a:t>Randomization</a:t>
            </a:r>
            <a:r>
              <a:rPr lang="en-US" dirty="0"/>
              <a:t> (N=443)</a:t>
            </a:r>
            <a:endParaRPr lang="nl-NL" dirty="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6F7EB49E-5F8E-9F2B-3149-8359E93DDD8D}"/>
              </a:ext>
            </a:extLst>
          </p:cNvPr>
          <p:cNvSpPr/>
          <p:nvPr/>
        </p:nvSpPr>
        <p:spPr>
          <a:xfrm>
            <a:off x="1024946" y="3614891"/>
            <a:ext cx="1437185" cy="720080"/>
          </a:xfrm>
          <a:prstGeom prst="roundRect">
            <a:avLst/>
          </a:prstGeom>
          <a:ln>
            <a:solidFill>
              <a:srgbClr val="0070C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0070C0"/>
                </a:solidFill>
              </a:rPr>
              <a:t>TAVI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N=221</a:t>
            </a:r>
            <a:endParaRPr lang="nl-NL" dirty="0">
              <a:solidFill>
                <a:schemeClr val="tx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D8392B08-5C76-808C-0AF2-07DCF3A666FD}"/>
              </a:ext>
            </a:extLst>
          </p:cNvPr>
          <p:cNvSpPr/>
          <p:nvPr/>
        </p:nvSpPr>
        <p:spPr>
          <a:xfrm>
            <a:off x="3980249" y="3614891"/>
            <a:ext cx="1437185" cy="720080"/>
          </a:xfrm>
          <a:prstGeom prst="round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C00000"/>
                </a:solidFill>
              </a:rPr>
              <a:t>Surgery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N=222</a:t>
            </a:r>
            <a:endParaRPr lang="nl-NL" dirty="0">
              <a:solidFill>
                <a:schemeClr val="tx1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626A42F1-FD2E-FEB6-7790-599E6B2BD484}"/>
              </a:ext>
            </a:extLst>
          </p:cNvPr>
          <p:cNvSpPr/>
          <p:nvPr/>
        </p:nvSpPr>
        <p:spPr>
          <a:xfrm>
            <a:off x="6084168" y="1779662"/>
            <a:ext cx="1800200" cy="895921"/>
          </a:xfrm>
          <a:prstGeom prst="roundRect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Excluded</a:t>
            </a:r>
            <a:r>
              <a:rPr lang="en-US" sz="1200" dirty="0"/>
              <a:t> from randomization N=47</a:t>
            </a:r>
            <a:endParaRPr lang="nl-NL" sz="1200" dirty="0"/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F50FB6BE-94A9-7BF4-7E0B-2C22EED40182}"/>
              </a:ext>
            </a:extLst>
          </p:cNvPr>
          <p:cNvCxnSpPr>
            <a:stCxn id="7" idx="2"/>
            <a:endCxn id="8" idx="0"/>
          </p:cNvCxnSpPr>
          <p:nvPr/>
        </p:nvCxnSpPr>
        <p:spPr>
          <a:xfrm>
            <a:off x="3221190" y="2002065"/>
            <a:ext cx="0" cy="501501"/>
          </a:xfrm>
          <a:prstGeom prst="straightConnector1">
            <a:avLst/>
          </a:prstGeom>
          <a:ln w="254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FD179557-A3A7-32DD-816D-EE24C6BE1783}"/>
              </a:ext>
            </a:extLst>
          </p:cNvPr>
          <p:cNvCxnSpPr>
            <a:cxnSpLocks/>
            <a:endCxn id="9" idx="0"/>
          </p:cNvCxnSpPr>
          <p:nvPr/>
        </p:nvCxnSpPr>
        <p:spPr>
          <a:xfrm>
            <a:off x="1743538" y="3223646"/>
            <a:ext cx="1" cy="391245"/>
          </a:xfrm>
          <a:prstGeom prst="straightConnector1">
            <a:avLst/>
          </a:prstGeom>
          <a:ln w="254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8FAD62BB-AB32-F8C9-DF3E-6893A874D739}"/>
              </a:ext>
            </a:extLst>
          </p:cNvPr>
          <p:cNvCxnSpPr>
            <a:cxnSpLocks/>
          </p:cNvCxnSpPr>
          <p:nvPr/>
        </p:nvCxnSpPr>
        <p:spPr>
          <a:xfrm>
            <a:off x="4698840" y="3223645"/>
            <a:ext cx="1" cy="391245"/>
          </a:xfrm>
          <a:prstGeom prst="straightConnector1">
            <a:avLst/>
          </a:prstGeom>
          <a:ln w="254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AB6E0EDE-D03B-D8D8-290B-2A3BD5F70AE8}"/>
              </a:ext>
            </a:extLst>
          </p:cNvPr>
          <p:cNvCxnSpPr>
            <a:cxnSpLocks/>
          </p:cNvCxnSpPr>
          <p:nvPr/>
        </p:nvCxnSpPr>
        <p:spPr>
          <a:xfrm>
            <a:off x="3221190" y="2227622"/>
            <a:ext cx="2862978" cy="1"/>
          </a:xfrm>
          <a:prstGeom prst="straightConnector1">
            <a:avLst/>
          </a:prstGeom>
          <a:ln w="25400">
            <a:solidFill>
              <a:srgbClr val="00206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1">
            <a:extLst>
              <a:ext uri="{FF2B5EF4-FFF2-40B4-BE49-F238E27FC236}">
                <a16:creationId xmlns:a16="http://schemas.microsoft.com/office/drawing/2014/main" id="{802124DD-118D-0C1A-6AC9-93A928299E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6808" y="337665"/>
            <a:ext cx="978551" cy="587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28538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1923F42-4C6E-7FFC-16B8-81FFCBBFE1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tient Allocation</a:t>
            </a:r>
            <a:endParaRPr lang="nl-NL" dirty="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6F7EB49E-5F8E-9F2B-3149-8359E93DDD8D}"/>
              </a:ext>
            </a:extLst>
          </p:cNvPr>
          <p:cNvSpPr/>
          <p:nvPr/>
        </p:nvSpPr>
        <p:spPr>
          <a:xfrm>
            <a:off x="2699792" y="965012"/>
            <a:ext cx="1746852" cy="720080"/>
          </a:xfrm>
          <a:prstGeom prst="roundRect">
            <a:avLst/>
          </a:prstGeom>
          <a:ln>
            <a:solidFill>
              <a:srgbClr val="0070C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0070C0"/>
                </a:solidFill>
              </a:rPr>
              <a:t>TAVI (ITT)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N=221</a:t>
            </a:r>
            <a:endParaRPr lang="nl-NL" dirty="0">
              <a:solidFill>
                <a:schemeClr val="tx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D8392B08-5C76-808C-0AF2-07DCF3A666FD}"/>
              </a:ext>
            </a:extLst>
          </p:cNvPr>
          <p:cNvSpPr/>
          <p:nvPr/>
        </p:nvSpPr>
        <p:spPr>
          <a:xfrm>
            <a:off x="4644008" y="965012"/>
            <a:ext cx="1758316" cy="720080"/>
          </a:xfrm>
          <a:prstGeom prst="round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C00000"/>
                </a:solidFill>
              </a:rPr>
              <a:t>Surgery (ITT)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N=222</a:t>
            </a:r>
            <a:endParaRPr lang="nl-NL" dirty="0">
              <a:solidFill>
                <a:schemeClr val="tx1"/>
              </a:solidFill>
            </a:endParaRP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FD179557-A3A7-32DD-816D-EE24C6BE1783}"/>
              </a:ext>
            </a:extLst>
          </p:cNvPr>
          <p:cNvCxnSpPr>
            <a:cxnSpLocks/>
          </p:cNvCxnSpPr>
          <p:nvPr/>
        </p:nvCxnSpPr>
        <p:spPr>
          <a:xfrm>
            <a:off x="3567483" y="1685092"/>
            <a:ext cx="1" cy="1894770"/>
          </a:xfrm>
          <a:prstGeom prst="straightConnector1">
            <a:avLst/>
          </a:prstGeom>
          <a:ln w="254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8FAD62BB-AB32-F8C9-DF3E-6893A874D739}"/>
              </a:ext>
            </a:extLst>
          </p:cNvPr>
          <p:cNvCxnSpPr>
            <a:cxnSpLocks/>
            <a:stCxn id="10" idx="2"/>
            <a:endCxn id="5" idx="0"/>
          </p:cNvCxnSpPr>
          <p:nvPr/>
        </p:nvCxnSpPr>
        <p:spPr>
          <a:xfrm>
            <a:off x="5523166" y="1685092"/>
            <a:ext cx="2" cy="1894770"/>
          </a:xfrm>
          <a:prstGeom prst="straightConnector1">
            <a:avLst/>
          </a:prstGeom>
          <a:ln w="254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99C34CF4-5B1D-59E7-1376-3BD80B5FD758}"/>
              </a:ext>
            </a:extLst>
          </p:cNvPr>
          <p:cNvSpPr/>
          <p:nvPr/>
        </p:nvSpPr>
        <p:spPr>
          <a:xfrm>
            <a:off x="2699793" y="3579862"/>
            <a:ext cx="1746848" cy="1002228"/>
          </a:xfrm>
          <a:prstGeom prst="roundRect">
            <a:avLst/>
          </a:prstGeom>
          <a:ln>
            <a:solidFill>
              <a:srgbClr val="0070C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0070C0"/>
                </a:solidFill>
              </a:rPr>
              <a:t>Procedure initiated (AT)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N=215</a:t>
            </a:r>
            <a:endParaRPr lang="nl-NL" dirty="0">
              <a:solidFill>
                <a:schemeClr val="tx1"/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F27CD4E8-9AC1-340F-AA85-21A8074D06DE}"/>
              </a:ext>
            </a:extLst>
          </p:cNvPr>
          <p:cNvSpPr/>
          <p:nvPr/>
        </p:nvSpPr>
        <p:spPr>
          <a:xfrm>
            <a:off x="4644011" y="3579862"/>
            <a:ext cx="1758313" cy="1002228"/>
          </a:xfrm>
          <a:prstGeom prst="round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C00000"/>
                </a:solidFill>
              </a:rPr>
              <a:t>Procedure initiated (AT)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N=205</a:t>
            </a:r>
            <a:endParaRPr lang="nl-NL" dirty="0">
              <a:solidFill>
                <a:schemeClr val="tx1"/>
              </a:solidFill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158FB661-DC48-B043-AC0F-5F15AD4E3966}"/>
              </a:ext>
            </a:extLst>
          </p:cNvPr>
          <p:cNvSpPr/>
          <p:nvPr/>
        </p:nvSpPr>
        <p:spPr>
          <a:xfrm>
            <a:off x="367800" y="1803888"/>
            <a:ext cx="2476008" cy="1677750"/>
          </a:xfrm>
          <a:prstGeom prst="roundRect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Excluded</a:t>
            </a:r>
            <a:r>
              <a:rPr lang="en-US" sz="1200" dirty="0"/>
              <a:t> before treatment N=6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1200" dirty="0"/>
              <a:t>Exclusion criterion detected after randomization  N=2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1200" dirty="0"/>
              <a:t>Consent withdrawn N=1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1200" dirty="0"/>
              <a:t>Patient refused intervention and switched to Surgery N=1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1200" dirty="0"/>
              <a:t>Non-study valve implanted N=2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DB5CBC1-279E-3A4E-D4BE-7534ED234ACD}"/>
              </a:ext>
            </a:extLst>
          </p:cNvPr>
          <p:cNvSpPr/>
          <p:nvPr/>
        </p:nvSpPr>
        <p:spPr>
          <a:xfrm>
            <a:off x="6300192" y="1803974"/>
            <a:ext cx="2476008" cy="1677750"/>
          </a:xfrm>
          <a:prstGeom prst="roundRect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Excluded</a:t>
            </a:r>
            <a:r>
              <a:rPr lang="en-US" sz="1200" dirty="0"/>
              <a:t> before treatment N=17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1200" dirty="0"/>
              <a:t>Exclusion criterion detected after randomization  N=1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1200" dirty="0"/>
              <a:t>Consent withdrawn N=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1200" dirty="0"/>
              <a:t>Patient refused intervention and switched to TAVI N=4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1200" dirty="0"/>
              <a:t>Physician decided for TAVI N=8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1200" dirty="0"/>
              <a:t>Other N=1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C4260D40-2DF5-37F7-4821-FE3CC5EBEB12}"/>
              </a:ext>
            </a:extLst>
          </p:cNvPr>
          <p:cNvCxnSpPr>
            <a:cxnSpLocks/>
          </p:cNvCxnSpPr>
          <p:nvPr/>
        </p:nvCxnSpPr>
        <p:spPr>
          <a:xfrm>
            <a:off x="5523166" y="2643758"/>
            <a:ext cx="777026" cy="0"/>
          </a:xfrm>
          <a:prstGeom prst="straightConnector1">
            <a:avLst/>
          </a:prstGeom>
          <a:ln w="25400">
            <a:solidFill>
              <a:srgbClr val="00206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74D260CE-91B9-383F-1232-AAD0357DE229}"/>
              </a:ext>
            </a:extLst>
          </p:cNvPr>
          <p:cNvCxnSpPr>
            <a:cxnSpLocks/>
          </p:cNvCxnSpPr>
          <p:nvPr/>
        </p:nvCxnSpPr>
        <p:spPr>
          <a:xfrm flipH="1">
            <a:off x="2843808" y="2643758"/>
            <a:ext cx="723675" cy="0"/>
          </a:xfrm>
          <a:prstGeom prst="straightConnector1">
            <a:avLst/>
          </a:prstGeom>
          <a:ln w="25400">
            <a:solidFill>
              <a:srgbClr val="00206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29">
            <a:extLst>
              <a:ext uri="{FF2B5EF4-FFF2-40B4-BE49-F238E27FC236}">
                <a16:creationId xmlns:a16="http://schemas.microsoft.com/office/drawing/2014/main" id="{9CA621B8-3978-9D21-C921-27855F960B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6808" y="337665"/>
            <a:ext cx="978551" cy="58713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0FB069F-B9B3-6424-6047-3FF3E033B25C}"/>
              </a:ext>
            </a:extLst>
          </p:cNvPr>
          <p:cNvSpPr txBox="1"/>
          <p:nvPr/>
        </p:nvSpPr>
        <p:spPr>
          <a:xfrm>
            <a:off x="7164288" y="4377408"/>
            <a:ext cx="1611912" cy="498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700" indent="0" algn="l" defTabSz="3600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None/>
            </a:pPr>
            <a:r>
              <a:rPr lang="en-US" sz="1200" i="1" kern="1200" dirty="0">
                <a:solidFill>
                  <a:schemeClr val="tx1"/>
                </a:solidFill>
              </a:rPr>
              <a:t>ITT: Intention To Treat</a:t>
            </a:r>
          </a:p>
          <a:p>
            <a:pPr marL="38700" indent="0" algn="l" defTabSz="3600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None/>
            </a:pPr>
            <a:r>
              <a:rPr lang="en-US" sz="1200" i="1" dirty="0"/>
              <a:t>AT: As Treated</a:t>
            </a:r>
            <a:endParaRPr lang="nl-NL" sz="1200" i="1" kern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78214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14" grpId="0" animBg="1"/>
      <p:bldP spid="23" grpId="0" animBg="1"/>
      <p:bldP spid="2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1923F42-4C6E-7FFC-16B8-81FFCBBFE1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tient Follow up</a:t>
            </a:r>
            <a:endParaRPr lang="nl-NL" dirty="0"/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FD179557-A3A7-32DD-816D-EE24C6BE1783}"/>
              </a:ext>
            </a:extLst>
          </p:cNvPr>
          <p:cNvCxnSpPr>
            <a:cxnSpLocks/>
            <a:stCxn id="4" idx="2"/>
            <a:endCxn id="12" idx="0"/>
          </p:cNvCxnSpPr>
          <p:nvPr/>
        </p:nvCxnSpPr>
        <p:spPr>
          <a:xfrm>
            <a:off x="3573217" y="2067694"/>
            <a:ext cx="0" cy="365924"/>
          </a:xfrm>
          <a:prstGeom prst="straightConnector1">
            <a:avLst/>
          </a:prstGeom>
          <a:ln w="25400">
            <a:solidFill>
              <a:srgbClr val="002060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99C34CF4-5B1D-59E7-1376-3BD80B5FD758}"/>
              </a:ext>
            </a:extLst>
          </p:cNvPr>
          <p:cNvSpPr/>
          <p:nvPr/>
        </p:nvSpPr>
        <p:spPr>
          <a:xfrm>
            <a:off x="2699793" y="1065466"/>
            <a:ext cx="1746848" cy="1002228"/>
          </a:xfrm>
          <a:prstGeom prst="roundRect">
            <a:avLst/>
          </a:prstGeom>
          <a:ln>
            <a:solidFill>
              <a:srgbClr val="0070C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0070C0"/>
                </a:solidFill>
              </a:rPr>
              <a:t>TAVI initiated (AT)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N=215</a:t>
            </a:r>
            <a:endParaRPr lang="nl-NL" dirty="0">
              <a:solidFill>
                <a:schemeClr val="tx1"/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F27CD4E8-9AC1-340F-AA85-21A8074D06DE}"/>
              </a:ext>
            </a:extLst>
          </p:cNvPr>
          <p:cNvSpPr/>
          <p:nvPr/>
        </p:nvSpPr>
        <p:spPr>
          <a:xfrm>
            <a:off x="4644011" y="1059582"/>
            <a:ext cx="1758313" cy="1002228"/>
          </a:xfrm>
          <a:prstGeom prst="round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en-US" b="1" dirty="0">
                <a:solidFill>
                  <a:srgbClr val="C00000"/>
                </a:solidFill>
              </a:rPr>
              <a:t>Surgery initiated (AT)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N=205</a:t>
            </a:r>
            <a:endParaRPr lang="nl-NL" dirty="0">
              <a:solidFill>
                <a:schemeClr val="tx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84AAC8B1-39F4-E225-7024-CCAA114B37AE}"/>
              </a:ext>
            </a:extLst>
          </p:cNvPr>
          <p:cNvSpPr/>
          <p:nvPr/>
        </p:nvSpPr>
        <p:spPr>
          <a:xfrm>
            <a:off x="2699793" y="2433618"/>
            <a:ext cx="1746848" cy="714196"/>
          </a:xfrm>
          <a:prstGeom prst="roundRect">
            <a:avLst/>
          </a:prstGeom>
          <a:ln>
            <a:solidFill>
              <a:srgbClr val="0070C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en-US" b="1" dirty="0">
                <a:solidFill>
                  <a:srgbClr val="0070C0"/>
                </a:solidFill>
              </a:rPr>
              <a:t>30 Day FU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212/215 (98.6%)</a:t>
            </a:r>
            <a:endParaRPr lang="nl-NL" dirty="0">
              <a:solidFill>
                <a:schemeClr val="tx1"/>
              </a:solidFill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6C8EC546-D89E-F1F0-FFF7-7D60AFB43D17}"/>
              </a:ext>
            </a:extLst>
          </p:cNvPr>
          <p:cNvSpPr/>
          <p:nvPr/>
        </p:nvSpPr>
        <p:spPr>
          <a:xfrm>
            <a:off x="2699460" y="3513738"/>
            <a:ext cx="1746848" cy="714196"/>
          </a:xfrm>
          <a:prstGeom prst="roundRect">
            <a:avLst/>
          </a:prstGeom>
          <a:ln>
            <a:solidFill>
              <a:srgbClr val="0070C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en-US" b="1" dirty="0">
                <a:solidFill>
                  <a:srgbClr val="0070C0"/>
                </a:solidFill>
              </a:rPr>
              <a:t>1 year FU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210/215 (97.7%)</a:t>
            </a:r>
            <a:endParaRPr lang="nl-NL" dirty="0">
              <a:solidFill>
                <a:schemeClr val="tx1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548A3DC9-AA11-64DF-2B4A-DB2EB3F52B00}"/>
              </a:ext>
            </a:extLst>
          </p:cNvPr>
          <p:cNvSpPr/>
          <p:nvPr/>
        </p:nvSpPr>
        <p:spPr>
          <a:xfrm>
            <a:off x="4649743" y="2433618"/>
            <a:ext cx="1746848" cy="714196"/>
          </a:xfrm>
          <a:prstGeom prst="roundRect">
            <a:avLst/>
          </a:prstGeom>
          <a:ln>
            <a:solidFill>
              <a:srgbClr val="C0000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en-US" b="1" dirty="0">
                <a:solidFill>
                  <a:srgbClr val="C00000"/>
                </a:solidFill>
              </a:rPr>
              <a:t>30 Day FU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200/205 (97.6%)</a:t>
            </a:r>
            <a:endParaRPr lang="nl-NL" dirty="0">
              <a:solidFill>
                <a:schemeClr val="tx1"/>
              </a:solidFill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25F09D03-0485-0218-A548-56229197D963}"/>
              </a:ext>
            </a:extLst>
          </p:cNvPr>
          <p:cNvSpPr/>
          <p:nvPr/>
        </p:nvSpPr>
        <p:spPr>
          <a:xfrm>
            <a:off x="4649743" y="3513738"/>
            <a:ext cx="1746848" cy="714196"/>
          </a:xfrm>
          <a:prstGeom prst="roundRect">
            <a:avLst/>
          </a:prstGeom>
          <a:ln>
            <a:solidFill>
              <a:srgbClr val="C0000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en-US" b="1" dirty="0">
                <a:solidFill>
                  <a:srgbClr val="C00000"/>
                </a:solidFill>
              </a:rPr>
              <a:t>1 year FU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198/205 (96.8%)</a:t>
            </a:r>
            <a:endParaRPr lang="nl-NL" dirty="0">
              <a:solidFill>
                <a:schemeClr val="tx1"/>
              </a:solidFill>
            </a:endParaRP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4DF8316-C062-6267-B01D-DB294C4E879E}"/>
              </a:ext>
            </a:extLst>
          </p:cNvPr>
          <p:cNvCxnSpPr>
            <a:cxnSpLocks/>
          </p:cNvCxnSpPr>
          <p:nvPr/>
        </p:nvCxnSpPr>
        <p:spPr>
          <a:xfrm>
            <a:off x="3573217" y="3147814"/>
            <a:ext cx="0" cy="365924"/>
          </a:xfrm>
          <a:prstGeom prst="straightConnector1">
            <a:avLst/>
          </a:prstGeom>
          <a:ln w="25400">
            <a:solidFill>
              <a:srgbClr val="002060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09E82A8F-8DEA-330D-A597-6E6B9124463C}"/>
              </a:ext>
            </a:extLst>
          </p:cNvPr>
          <p:cNvCxnSpPr>
            <a:cxnSpLocks/>
          </p:cNvCxnSpPr>
          <p:nvPr/>
        </p:nvCxnSpPr>
        <p:spPr>
          <a:xfrm>
            <a:off x="5508104" y="2067694"/>
            <a:ext cx="0" cy="365924"/>
          </a:xfrm>
          <a:prstGeom prst="straightConnector1">
            <a:avLst/>
          </a:prstGeom>
          <a:ln w="25400">
            <a:solidFill>
              <a:srgbClr val="002060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6AAB475B-D7AD-3616-7C10-EBDFE1FA9313}"/>
              </a:ext>
            </a:extLst>
          </p:cNvPr>
          <p:cNvCxnSpPr>
            <a:cxnSpLocks/>
          </p:cNvCxnSpPr>
          <p:nvPr/>
        </p:nvCxnSpPr>
        <p:spPr>
          <a:xfrm>
            <a:off x="5508104" y="3147814"/>
            <a:ext cx="0" cy="365924"/>
          </a:xfrm>
          <a:prstGeom prst="straightConnector1">
            <a:avLst/>
          </a:prstGeom>
          <a:ln w="25400">
            <a:solidFill>
              <a:srgbClr val="002060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B97BC535-D0B2-F837-2B2B-0404FFA965B0}"/>
              </a:ext>
            </a:extLst>
          </p:cNvPr>
          <p:cNvSpPr/>
          <p:nvPr/>
        </p:nvSpPr>
        <p:spPr>
          <a:xfrm>
            <a:off x="467544" y="1654378"/>
            <a:ext cx="1881538" cy="1192556"/>
          </a:xfrm>
          <a:prstGeom prst="roundRect">
            <a:avLst/>
          </a:prstGeom>
          <a:ln>
            <a:solidFill>
              <a:srgbClr val="0070C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3 conversions to Surgery</a:t>
            </a:r>
          </a:p>
          <a:p>
            <a:pPr algn="ctr"/>
            <a:r>
              <a:rPr lang="en-US" b="1" dirty="0">
                <a:solidFill>
                  <a:srgbClr val="0070C0"/>
                </a:solidFill>
              </a:rPr>
              <a:t>Valve Implant population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N=212</a:t>
            </a:r>
            <a:endParaRPr lang="nl-NL" dirty="0">
              <a:solidFill>
                <a:schemeClr val="tx1"/>
              </a:solidFill>
            </a:endParaRP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63C8454-9E1C-0D5F-8697-A9C4E0884B9F}"/>
              </a:ext>
            </a:extLst>
          </p:cNvPr>
          <p:cNvCxnSpPr>
            <a:cxnSpLocks/>
          </p:cNvCxnSpPr>
          <p:nvPr/>
        </p:nvCxnSpPr>
        <p:spPr>
          <a:xfrm flipH="1">
            <a:off x="2323007" y="2250656"/>
            <a:ext cx="1249877" cy="0"/>
          </a:xfrm>
          <a:prstGeom prst="straightConnector1">
            <a:avLst/>
          </a:prstGeom>
          <a:ln w="25400">
            <a:solidFill>
              <a:srgbClr val="002060"/>
            </a:solidFill>
            <a:prstDash val="sysDash"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A06270A6-4A47-977C-7E48-07E719AE4B29}"/>
              </a:ext>
            </a:extLst>
          </p:cNvPr>
          <p:cNvSpPr/>
          <p:nvPr/>
        </p:nvSpPr>
        <p:spPr>
          <a:xfrm>
            <a:off x="6768847" y="1659871"/>
            <a:ext cx="1881535" cy="1181570"/>
          </a:xfrm>
          <a:prstGeom prst="roundRect">
            <a:avLst/>
          </a:prstGeom>
          <a:ln>
            <a:solidFill>
              <a:srgbClr val="C0000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2 conversions to TAVI</a:t>
            </a:r>
          </a:p>
          <a:p>
            <a:pPr algn="ctr"/>
            <a:r>
              <a:rPr lang="en-US" b="1" dirty="0">
                <a:solidFill>
                  <a:srgbClr val="C00000"/>
                </a:solidFill>
              </a:rPr>
              <a:t>Valve Implant population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N=203</a:t>
            </a:r>
            <a:endParaRPr lang="nl-NL" dirty="0">
              <a:solidFill>
                <a:schemeClr val="tx1"/>
              </a:solidFill>
            </a:endParaRP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70DDCDEC-2502-89BA-A9B7-58DB03DF4F4D}"/>
              </a:ext>
            </a:extLst>
          </p:cNvPr>
          <p:cNvCxnSpPr>
            <a:cxnSpLocks/>
            <a:endCxn id="32" idx="1"/>
          </p:cNvCxnSpPr>
          <p:nvPr/>
        </p:nvCxnSpPr>
        <p:spPr>
          <a:xfrm>
            <a:off x="5508104" y="2250656"/>
            <a:ext cx="1260743" cy="0"/>
          </a:xfrm>
          <a:prstGeom prst="straightConnector1">
            <a:avLst/>
          </a:prstGeom>
          <a:ln w="25400">
            <a:solidFill>
              <a:srgbClr val="002060"/>
            </a:solidFill>
            <a:prstDash val="sysDash"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Picture 41">
            <a:extLst>
              <a:ext uri="{FF2B5EF4-FFF2-40B4-BE49-F238E27FC236}">
                <a16:creationId xmlns:a16="http://schemas.microsoft.com/office/drawing/2014/main" id="{57362318-7513-52C5-60C8-C4E8C95BEB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16808" y="337665"/>
            <a:ext cx="978551" cy="587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5246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6" grpId="0" animBg="1"/>
      <p:bldP spid="17" grpId="0" animBg="1"/>
      <p:bldP spid="25" grpId="0" animBg="1"/>
      <p:bldP spid="32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303D21-0985-2392-6B29-584BD24A5D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Baseline Patient Characteristics</a:t>
            </a:r>
            <a:endParaRPr lang="nl-NL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C2A7AB3-706C-D9D8-1A01-819C65F4CB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6808" y="337665"/>
            <a:ext cx="978551" cy="587131"/>
          </a:xfrm>
          <a:prstGeom prst="rect">
            <a:avLst/>
          </a:prstGeom>
        </p:spPr>
      </p:pic>
      <p:graphicFrame>
        <p:nvGraphicFramePr>
          <p:cNvPr id="2" name="Content Placeholder 4">
            <a:extLst>
              <a:ext uri="{FF2B5EF4-FFF2-40B4-BE49-F238E27FC236}">
                <a16:creationId xmlns:a16="http://schemas.microsoft.com/office/drawing/2014/main" id="{51374A9A-5FD4-D5F0-16F6-891106F5A3CE}"/>
              </a:ext>
            </a:extLst>
          </p:cNvPr>
          <p:cNvGraphicFramePr>
            <a:graphicFrameLocks/>
          </p:cNvGraphicFramePr>
          <p:nvPr/>
        </p:nvGraphicFramePr>
        <p:xfrm>
          <a:off x="423333" y="771550"/>
          <a:ext cx="6480720" cy="4160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60440">
                  <a:extLst>
                    <a:ext uri="{9D8B030D-6E8A-4147-A177-3AD203B41FA5}">
                      <a16:colId xmlns:a16="http://schemas.microsoft.com/office/drawing/2014/main" val="2636849745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1173353381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1161597867"/>
                    </a:ext>
                  </a:extLst>
                </a:gridCol>
              </a:tblGrid>
              <a:tr h="296476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b="1" kern="100" dirty="0">
                          <a:effectLst/>
                          <a:highlight>
                            <a:srgbClr val="F7CAAC"/>
                          </a:highlight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nl-NL" sz="1400" kern="100" dirty="0">
                        <a:effectLst/>
                        <a:highlight>
                          <a:srgbClr val="F7CAAC"/>
                        </a:highlight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454" marR="26454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AVI (N=215)</a:t>
                      </a:r>
                      <a:endParaRPr lang="nl-NL" sz="1400" kern="1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urgery (N=205)</a:t>
                      </a:r>
                      <a:endParaRPr lang="nl-NL" sz="1400" kern="1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extLst>
                  <a:ext uri="{0D108BD9-81ED-4DB2-BD59-A6C34878D82A}">
                    <a16:rowId xmlns:a16="http://schemas.microsoft.com/office/drawing/2014/main" val="4154616907"/>
                  </a:ext>
                </a:extLst>
              </a:tr>
              <a:tr h="296294">
                <a:tc>
                  <a:txBody>
                    <a:bodyPr/>
                    <a:lstStyle/>
                    <a:p>
                      <a:pPr marL="72000" algn="l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b="0" kern="100" spc="-1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ge — years</a:t>
                      </a:r>
                      <a:endParaRPr lang="nl-NL" sz="1400" b="0" kern="100" spc="-1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454" marR="26454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3.1 ± 4.5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3.3 ± 5.2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extLst>
                  <a:ext uri="{0D108BD9-81ED-4DB2-BD59-A6C34878D82A}">
                    <a16:rowId xmlns:a16="http://schemas.microsoft.com/office/drawing/2014/main" val="90978362"/>
                  </a:ext>
                </a:extLst>
              </a:tr>
              <a:tr h="296294">
                <a:tc>
                  <a:txBody>
                    <a:bodyPr/>
                    <a:lstStyle/>
                    <a:p>
                      <a:pPr marL="7200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00" spc="-1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ace/ethnicity (non-white) </a:t>
                      </a:r>
                      <a:r>
                        <a:rPr lang="en-GB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— %</a:t>
                      </a:r>
                      <a:endParaRPr lang="nl-NL" sz="14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%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%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extLst>
                  <a:ext uri="{0D108BD9-81ED-4DB2-BD59-A6C34878D82A}">
                    <a16:rowId xmlns:a16="http://schemas.microsoft.com/office/drawing/2014/main" val="2474783379"/>
                  </a:ext>
                </a:extLst>
              </a:tr>
              <a:tr h="296294">
                <a:tc>
                  <a:txBody>
                    <a:bodyPr/>
                    <a:lstStyle/>
                    <a:p>
                      <a:pPr marL="72000" algn="l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b="0" kern="100" spc="-1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ody Mass Index</a:t>
                      </a:r>
                      <a:endParaRPr lang="nl-NL" sz="1400" b="0" kern="100" spc="-1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454" marR="26454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9.2 ± 5.8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9.8 ± 5.8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extLst>
                  <a:ext uri="{0D108BD9-81ED-4DB2-BD59-A6C34878D82A}">
                    <a16:rowId xmlns:a16="http://schemas.microsoft.com/office/drawing/2014/main" val="354650841"/>
                  </a:ext>
                </a:extLst>
              </a:tr>
              <a:tr h="296294">
                <a:tc>
                  <a:txBody>
                    <a:bodyPr/>
                    <a:lstStyle/>
                    <a:p>
                      <a:pPr marL="72000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ociety of Thoracic Surgeons risk score </a:t>
                      </a:r>
                      <a:r>
                        <a:rPr lang="en-GB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—</a:t>
                      </a:r>
                      <a:r>
                        <a:rPr lang="en-GB" sz="14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%</a:t>
                      </a:r>
                      <a:endParaRPr lang="nl-NL" sz="14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454" marR="26454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1 ± 1.1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2 ± 1.3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extLst>
                  <a:ext uri="{0D108BD9-81ED-4DB2-BD59-A6C34878D82A}">
                    <a16:rowId xmlns:a16="http://schemas.microsoft.com/office/drawing/2014/main" val="3009474038"/>
                  </a:ext>
                </a:extLst>
              </a:tr>
              <a:tr h="296294">
                <a:tc>
                  <a:txBody>
                    <a:bodyPr/>
                    <a:lstStyle/>
                    <a:p>
                      <a:pPr marL="72000" algn="l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e-DE" sz="1400" b="0" kern="100" spc="-1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uroSCORE II risk score </a:t>
                      </a:r>
                      <a:r>
                        <a:rPr lang="en-GB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—</a:t>
                      </a:r>
                      <a:r>
                        <a:rPr lang="de-DE" sz="1400" b="0" kern="100" spc="-1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%</a:t>
                      </a:r>
                      <a:endParaRPr lang="nl-NL" sz="1400" b="0" kern="100" spc="-1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454" marR="26454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7 ± 0.8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7 ± 1.1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extLst>
                  <a:ext uri="{0D108BD9-81ED-4DB2-BD59-A6C34878D82A}">
                    <a16:rowId xmlns:a16="http://schemas.microsoft.com/office/drawing/2014/main" val="474982892"/>
                  </a:ext>
                </a:extLst>
              </a:tr>
              <a:tr h="296294">
                <a:tc>
                  <a:txBody>
                    <a:bodyPr/>
                    <a:lstStyle/>
                    <a:p>
                      <a:pPr marL="7200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kern="100" spc="-1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w York Heart Association class III or IV </a:t>
                      </a:r>
                      <a:r>
                        <a:rPr lang="en-GB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— %</a:t>
                      </a:r>
                      <a:endParaRPr lang="nl-NL" sz="14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4.0%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9.0%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extLst>
                  <a:ext uri="{0D108BD9-81ED-4DB2-BD59-A6C34878D82A}">
                    <a16:rowId xmlns:a16="http://schemas.microsoft.com/office/drawing/2014/main" val="3612897802"/>
                  </a:ext>
                </a:extLst>
              </a:tr>
              <a:tr h="296294">
                <a:tc>
                  <a:txBody>
                    <a:bodyPr/>
                    <a:lstStyle/>
                    <a:p>
                      <a:pPr marL="7200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kern="100" spc="-1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ronary artery disease </a:t>
                      </a:r>
                      <a:r>
                        <a:rPr lang="en-GB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— %</a:t>
                      </a:r>
                      <a:endParaRPr lang="nl-NL" sz="14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9.1%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9.0%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extLst>
                  <a:ext uri="{0D108BD9-81ED-4DB2-BD59-A6C34878D82A}">
                    <a16:rowId xmlns:a16="http://schemas.microsoft.com/office/drawing/2014/main" val="569416692"/>
                  </a:ext>
                </a:extLst>
              </a:tr>
              <a:tr h="296294">
                <a:tc>
                  <a:txBody>
                    <a:bodyPr/>
                    <a:lstStyle/>
                    <a:p>
                      <a:pPr marL="7200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evious stroke </a:t>
                      </a:r>
                      <a:r>
                        <a:rPr lang="en-GB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— %</a:t>
                      </a:r>
                      <a:endParaRPr lang="nl-NL" sz="14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.7%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.4%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extLst>
                  <a:ext uri="{0D108BD9-81ED-4DB2-BD59-A6C34878D82A}">
                    <a16:rowId xmlns:a16="http://schemas.microsoft.com/office/drawing/2014/main" val="2845856553"/>
                  </a:ext>
                </a:extLst>
              </a:tr>
              <a:tr h="296294">
                <a:tc>
                  <a:txBody>
                    <a:bodyPr/>
                    <a:lstStyle/>
                    <a:p>
                      <a:pPr marL="72000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b="0" kern="100" spc="-1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arotid artery stenosis &gt;50% </a:t>
                      </a:r>
                      <a:r>
                        <a:rPr lang="en-GB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— %</a:t>
                      </a:r>
                      <a:endParaRPr lang="nl-NL" sz="1400" b="0" kern="100" spc="-1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454" marR="26454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9%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.9%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extLst>
                  <a:ext uri="{0D108BD9-81ED-4DB2-BD59-A6C34878D82A}">
                    <a16:rowId xmlns:a16="http://schemas.microsoft.com/office/drawing/2014/main" val="2103903842"/>
                  </a:ext>
                </a:extLst>
              </a:tr>
              <a:tr h="296294">
                <a:tc>
                  <a:txBody>
                    <a:bodyPr/>
                    <a:lstStyle/>
                    <a:p>
                      <a:pPr marL="72000"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pt-PT" sz="14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ipheral arterial disease </a:t>
                      </a:r>
                      <a:r>
                        <a:rPr lang="en-GB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— %</a:t>
                      </a:r>
                      <a:endParaRPr lang="nl-NL" sz="14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454" marR="26454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3%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.4%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extLst>
                  <a:ext uri="{0D108BD9-81ED-4DB2-BD59-A6C34878D82A}">
                    <a16:rowId xmlns:a16="http://schemas.microsoft.com/office/drawing/2014/main" val="2122494889"/>
                  </a:ext>
                </a:extLst>
              </a:tr>
              <a:tr h="296294">
                <a:tc>
                  <a:txBody>
                    <a:bodyPr/>
                    <a:lstStyle/>
                    <a:p>
                      <a:pPr marL="72000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reatinine &gt;2 mg/dl </a:t>
                      </a:r>
                      <a:r>
                        <a:rPr lang="en-GB" sz="14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177</a:t>
                      </a:r>
                      <a:r>
                        <a:rPr lang="en-GB" sz="1400" b="0" kern="100" spc="-25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de-DE" sz="14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μ</a:t>
                      </a:r>
                      <a:r>
                        <a:rPr lang="en-GB" sz="14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l/L)</a:t>
                      </a:r>
                      <a:r>
                        <a:rPr lang="en-GB" sz="1400" b="0" kern="100" spc="-35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GB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— %</a:t>
                      </a:r>
                      <a:endParaRPr lang="nl-NL" sz="14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454" marR="26454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%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%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extLst>
                  <a:ext uri="{0D108BD9-81ED-4DB2-BD59-A6C34878D82A}">
                    <a16:rowId xmlns:a16="http://schemas.microsoft.com/office/drawing/2014/main" val="2147713215"/>
                  </a:ext>
                </a:extLst>
              </a:tr>
              <a:tr h="296294">
                <a:tc>
                  <a:txBody>
                    <a:bodyPr/>
                    <a:lstStyle/>
                    <a:p>
                      <a:pPr marL="72000" algn="l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b="0" kern="100" spc="-1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iabetes </a:t>
                      </a:r>
                      <a:r>
                        <a:rPr lang="en-GB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— %</a:t>
                      </a:r>
                      <a:endParaRPr lang="nl-NL" sz="1400" b="0" kern="100" spc="-1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454" marR="26454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6.0%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7.3%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extLst>
                  <a:ext uri="{0D108BD9-81ED-4DB2-BD59-A6C34878D82A}">
                    <a16:rowId xmlns:a16="http://schemas.microsoft.com/office/drawing/2014/main" val="11187148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4718438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303D21-0985-2392-6B29-584BD24A5D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Baseline Patient Characteristics</a:t>
            </a:r>
            <a:endParaRPr lang="nl-NL" dirty="0"/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ACBA3F34-3EA9-2F58-706E-01DAA70CD44A}"/>
              </a:ext>
            </a:extLst>
          </p:cNvPr>
          <p:cNvGraphicFramePr>
            <a:graphicFrameLocks noGrp="1"/>
          </p:cNvGraphicFramePr>
          <p:nvPr>
            <p:ph sz="quarter" idx="4294967295"/>
          </p:nvPr>
        </p:nvGraphicFramePr>
        <p:xfrm>
          <a:off x="395536" y="771550"/>
          <a:ext cx="6480721" cy="36732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60440">
                  <a:extLst>
                    <a:ext uri="{9D8B030D-6E8A-4147-A177-3AD203B41FA5}">
                      <a16:colId xmlns:a16="http://schemas.microsoft.com/office/drawing/2014/main" val="4017396227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2034199089"/>
                    </a:ext>
                  </a:extLst>
                </a:gridCol>
                <a:gridCol w="1296145">
                  <a:extLst>
                    <a:ext uri="{9D8B030D-6E8A-4147-A177-3AD203B41FA5}">
                      <a16:colId xmlns:a16="http://schemas.microsoft.com/office/drawing/2014/main" val="3713835416"/>
                    </a:ext>
                  </a:extLst>
                </a:gridCol>
              </a:tblGrid>
              <a:tr h="244822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b="1" kern="100" dirty="0">
                          <a:effectLst/>
                          <a:highlight>
                            <a:srgbClr val="F7CAAC"/>
                          </a:highlight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nl-NL" sz="1400" kern="100" dirty="0">
                        <a:effectLst/>
                        <a:highlight>
                          <a:srgbClr val="F7CAAC"/>
                        </a:highlight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AVI (N=215)</a:t>
                      </a:r>
                      <a:endParaRPr lang="nl-NL" sz="1400" kern="1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urgery (N=205)</a:t>
                      </a:r>
                      <a:endParaRPr lang="nl-NL" sz="1400" kern="1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extLst>
                  <a:ext uri="{0D108BD9-81ED-4DB2-BD59-A6C34878D82A}">
                    <a16:rowId xmlns:a16="http://schemas.microsoft.com/office/drawing/2014/main" val="552496789"/>
                  </a:ext>
                </a:extLst>
              </a:tr>
              <a:tr h="244822">
                <a:tc>
                  <a:txBody>
                    <a:bodyPr/>
                    <a:lstStyle/>
                    <a:p>
                      <a:pPr marL="72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trial fibrillation — %</a:t>
                      </a:r>
                      <a:endParaRPr lang="nl-NL" sz="14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.1%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.0%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extLst>
                  <a:ext uri="{0D108BD9-81ED-4DB2-BD59-A6C34878D82A}">
                    <a16:rowId xmlns:a16="http://schemas.microsoft.com/office/drawing/2014/main" val="2943416849"/>
                  </a:ext>
                </a:extLst>
              </a:tr>
              <a:tr h="244822">
                <a:tc>
                  <a:txBody>
                    <a:bodyPr/>
                    <a:lstStyle/>
                    <a:p>
                      <a:pPr marL="72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manent pacemaker — %</a:t>
                      </a:r>
                      <a:endParaRPr lang="nl-NL" sz="14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3%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.0%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extLst>
                  <a:ext uri="{0D108BD9-81ED-4DB2-BD59-A6C34878D82A}">
                    <a16:rowId xmlns:a16="http://schemas.microsoft.com/office/drawing/2014/main" val="2298208121"/>
                  </a:ext>
                </a:extLst>
              </a:tr>
              <a:tr h="244822">
                <a:tc>
                  <a:txBody>
                    <a:bodyPr/>
                    <a:lstStyle/>
                    <a:p>
                      <a:pPr marL="72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eft bundle-branch block — %</a:t>
                      </a:r>
                      <a:endParaRPr lang="nl-NL" sz="14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.5%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.5%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extLst>
                  <a:ext uri="{0D108BD9-81ED-4DB2-BD59-A6C34878D82A}">
                    <a16:rowId xmlns:a16="http://schemas.microsoft.com/office/drawing/2014/main" val="2349192992"/>
                  </a:ext>
                </a:extLst>
              </a:tr>
              <a:tr h="244822">
                <a:tc>
                  <a:txBody>
                    <a:bodyPr/>
                    <a:lstStyle/>
                    <a:p>
                      <a:pPr marL="72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Right bundle-branch block — %</a:t>
                      </a:r>
                      <a:endParaRPr lang="nl-NL" sz="14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.2%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.5%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extLst>
                  <a:ext uri="{0D108BD9-81ED-4DB2-BD59-A6C34878D82A}">
                    <a16:rowId xmlns:a16="http://schemas.microsoft.com/office/drawing/2014/main" val="2438125907"/>
                  </a:ext>
                </a:extLst>
              </a:tr>
              <a:tr h="244822">
                <a:tc>
                  <a:txBody>
                    <a:bodyPr/>
                    <a:lstStyle/>
                    <a:p>
                      <a:pPr marL="72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verall frailty — %</a:t>
                      </a:r>
                      <a:endParaRPr lang="nl-NL" sz="14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4%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%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extLst>
                  <a:ext uri="{0D108BD9-81ED-4DB2-BD59-A6C34878D82A}">
                    <a16:rowId xmlns:a16="http://schemas.microsoft.com/office/drawing/2014/main" val="2450406675"/>
                  </a:ext>
                </a:extLst>
              </a:tr>
              <a:tr h="244822">
                <a:tc>
                  <a:txBody>
                    <a:bodyPr/>
                    <a:lstStyle/>
                    <a:p>
                      <a:pPr marL="72000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ulmonary hypertension — %</a:t>
                      </a:r>
                      <a:endParaRPr lang="nl-NL" sz="14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8%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.9%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extLst>
                  <a:ext uri="{0D108BD9-81ED-4DB2-BD59-A6C34878D82A}">
                    <a16:rowId xmlns:a16="http://schemas.microsoft.com/office/drawing/2014/main" val="1983679841"/>
                  </a:ext>
                </a:extLst>
              </a:tr>
              <a:tr h="244822">
                <a:tc>
                  <a:txBody>
                    <a:bodyPr/>
                    <a:lstStyle/>
                    <a:p>
                      <a:pPr marL="72000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ortic-valve area — cm</a:t>
                      </a:r>
                      <a:r>
                        <a:rPr lang="en-GB" sz="1400" b="0" kern="100" baseline="300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GB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endParaRPr lang="nl-NL" sz="14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8 ± 0.2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8 ± 0.2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extLst>
                  <a:ext uri="{0D108BD9-81ED-4DB2-BD59-A6C34878D82A}">
                    <a16:rowId xmlns:a16="http://schemas.microsoft.com/office/drawing/2014/main" val="3608347005"/>
                  </a:ext>
                </a:extLst>
              </a:tr>
              <a:tr h="244822">
                <a:tc>
                  <a:txBody>
                    <a:bodyPr/>
                    <a:lstStyle/>
                    <a:p>
                      <a:pPr marL="72000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ortic-valve gradient (mean) — mm Hg </a:t>
                      </a:r>
                      <a:endParaRPr lang="nl-NL" sz="14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7.8 ± 13.7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7.5 ± 13.8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extLst>
                  <a:ext uri="{0D108BD9-81ED-4DB2-BD59-A6C34878D82A}">
                    <a16:rowId xmlns:a16="http://schemas.microsoft.com/office/drawing/2014/main" val="2235715945"/>
                  </a:ext>
                </a:extLst>
              </a:tr>
              <a:tr h="244822">
                <a:tc>
                  <a:txBody>
                    <a:bodyPr/>
                    <a:lstStyle/>
                    <a:p>
                      <a:pPr marL="72000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eft ventricular ejection fraction — % </a:t>
                      </a:r>
                      <a:endParaRPr lang="nl-NL" sz="14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6.9 ± 9.7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8.5 ± 8.0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extLst>
                  <a:ext uri="{0D108BD9-81ED-4DB2-BD59-A6C34878D82A}">
                    <a16:rowId xmlns:a16="http://schemas.microsoft.com/office/drawing/2014/main" val="1161442616"/>
                  </a:ext>
                </a:extLst>
              </a:tr>
              <a:tr h="244822">
                <a:tc>
                  <a:txBody>
                    <a:bodyPr/>
                    <a:lstStyle/>
                    <a:p>
                      <a:pPr marL="72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derate or severe valve regurgitation — %</a:t>
                      </a:r>
                      <a:endParaRPr lang="nl-NL" sz="14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extLst>
                  <a:ext uri="{0D108BD9-81ED-4DB2-BD59-A6C34878D82A}">
                    <a16:rowId xmlns:a16="http://schemas.microsoft.com/office/drawing/2014/main" val="4083777021"/>
                  </a:ext>
                </a:extLst>
              </a:tr>
              <a:tr h="244822">
                <a:tc>
                  <a:txBody>
                    <a:bodyPr/>
                    <a:lstStyle/>
                    <a:p>
                      <a:pPr marL="72000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171450" algn="l"/>
                        </a:tabLst>
                      </a:pPr>
                      <a:r>
                        <a:rPr lang="en-GB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	Aortic </a:t>
                      </a:r>
                      <a:endParaRPr lang="nl-NL" sz="14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.7%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.4%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extLst>
                  <a:ext uri="{0D108BD9-81ED-4DB2-BD59-A6C34878D82A}">
                    <a16:rowId xmlns:a16="http://schemas.microsoft.com/office/drawing/2014/main" val="4133801583"/>
                  </a:ext>
                </a:extLst>
              </a:tr>
              <a:tr h="244822">
                <a:tc>
                  <a:txBody>
                    <a:bodyPr/>
                    <a:lstStyle/>
                    <a:p>
                      <a:pPr marL="72000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171450" algn="l"/>
                        </a:tabLst>
                      </a:pPr>
                      <a:r>
                        <a:rPr lang="en-GB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	Mitral </a:t>
                      </a:r>
                      <a:endParaRPr lang="nl-NL" sz="14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4%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%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extLst>
                  <a:ext uri="{0D108BD9-81ED-4DB2-BD59-A6C34878D82A}">
                    <a16:rowId xmlns:a16="http://schemas.microsoft.com/office/drawing/2014/main" val="1575127872"/>
                  </a:ext>
                </a:extLst>
              </a:tr>
              <a:tr h="244822">
                <a:tc>
                  <a:txBody>
                    <a:bodyPr/>
                    <a:lstStyle/>
                    <a:p>
                      <a:pPr marL="72000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ystolic annular area on CT — mm</a:t>
                      </a:r>
                      <a:r>
                        <a:rPr lang="en-GB" sz="1400" b="0" kern="100" baseline="300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lang="nl-NL" sz="1400" b="0" kern="100" baseline="300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03.7 ± 63.1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92.8 ± 55.3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extLst>
                  <a:ext uri="{0D108BD9-81ED-4DB2-BD59-A6C34878D82A}">
                    <a16:rowId xmlns:a16="http://schemas.microsoft.com/office/drawing/2014/main" val="1910814384"/>
                  </a:ext>
                </a:extLst>
              </a:tr>
              <a:tr h="245783">
                <a:tc>
                  <a:txBody>
                    <a:bodyPr/>
                    <a:lstStyle/>
                    <a:p>
                      <a:pPr marL="72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mall annulus: annular area &lt; 430 mm</a:t>
                      </a:r>
                      <a:r>
                        <a:rPr lang="en-GB" sz="1400" b="0" kern="100" baseline="300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 </a:t>
                      </a:r>
                      <a:r>
                        <a:rPr lang="en-GB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— % </a:t>
                      </a:r>
                      <a:endParaRPr lang="nl-NL" sz="1400" b="0" kern="100" baseline="300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0.4 </a:t>
                      </a:r>
                      <a:r>
                        <a:rPr lang="en-GB" sz="1400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%</a:t>
                      </a:r>
                      <a:endParaRPr lang="nl-NL" sz="1400" kern="1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5.5%</a:t>
                      </a:r>
                      <a:endParaRPr lang="nl-NL" sz="1400" kern="1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extLst>
                  <a:ext uri="{0D108BD9-81ED-4DB2-BD59-A6C34878D82A}">
                    <a16:rowId xmlns:a16="http://schemas.microsoft.com/office/drawing/2014/main" val="2163666825"/>
                  </a:ext>
                </a:extLst>
              </a:tr>
            </a:tbl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998F60D9-2047-EE8E-902C-E65C810948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6808" y="337665"/>
            <a:ext cx="978551" cy="587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646433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22C15C5-0C79-416F-3BC3-CE1DBE07B9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Procedural Findings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62924A3D-A6D7-797C-01D5-76CA7F69F175}"/>
              </a:ext>
            </a:extLst>
          </p:cNvPr>
          <p:cNvGraphicFramePr>
            <a:graphicFrameLocks noGrp="1"/>
          </p:cNvGraphicFramePr>
          <p:nvPr>
            <p:ph sz="half" idx="4294967295"/>
          </p:nvPr>
        </p:nvGraphicFramePr>
        <p:xfrm>
          <a:off x="336700" y="1387390"/>
          <a:ext cx="3930650" cy="64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39156">
                  <a:extLst>
                    <a:ext uri="{9D8B030D-6E8A-4147-A177-3AD203B41FA5}">
                      <a16:colId xmlns:a16="http://schemas.microsoft.com/office/drawing/2014/main" val="2953522009"/>
                    </a:ext>
                  </a:extLst>
                </a:gridCol>
                <a:gridCol w="991494">
                  <a:extLst>
                    <a:ext uri="{9D8B030D-6E8A-4147-A177-3AD203B41FA5}">
                      <a16:colId xmlns:a16="http://schemas.microsoft.com/office/drawing/2014/main" val="3619852855"/>
                    </a:ext>
                  </a:extLst>
                </a:gridCol>
              </a:tblGrid>
              <a:tr h="204976"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</a:pPr>
                      <a:endParaRPr lang="nl-NL" sz="1400" b="1" kern="1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algn="ctr">
                        <a:lnSpc>
                          <a:spcPct val="100000"/>
                        </a:lnSpc>
                      </a:pPr>
                      <a:r>
                        <a:rPr lang="en-US" sz="1400" b="1" kern="1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%</a:t>
                      </a:r>
                      <a:endParaRPr lang="nl-NL" sz="1400" b="1" kern="1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402712837"/>
                  </a:ext>
                </a:extLst>
              </a:tr>
              <a:tr h="403320">
                <a:tc>
                  <a:txBody>
                    <a:bodyPr/>
                    <a:lstStyle/>
                    <a:p>
                      <a:pPr marL="72000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400" b="1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alve type</a:t>
                      </a:r>
                      <a:r>
                        <a:rPr lang="en-US" sz="1400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: </a:t>
                      </a:r>
                    </a:p>
                    <a:p>
                      <a:pPr marL="72000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400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 SAPIEN 3 / SAPIEN 3 ULTRA</a:t>
                      </a:r>
                      <a:endParaRPr lang="nl-NL" sz="1400" kern="1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</a:pPr>
                      <a:endParaRPr lang="en-US" sz="1400" b="0" kern="1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400" b="0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3% / 57%</a:t>
                      </a:r>
                      <a:endParaRPr lang="nl-NL" sz="1400" b="0" kern="1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406363593"/>
                  </a:ext>
                </a:extLst>
              </a:tr>
            </a:tbl>
          </a:graphicData>
        </a:graphic>
      </p:graphicFrame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7C47558F-A7CE-8F89-6E19-8F44E63F0895}"/>
              </a:ext>
            </a:extLst>
          </p:cNvPr>
          <p:cNvGraphicFramePr>
            <a:graphicFrameLocks noGrp="1"/>
          </p:cNvGraphicFramePr>
          <p:nvPr>
            <p:ph sz="half" idx="4294967295"/>
          </p:nvPr>
        </p:nvGraphicFramePr>
        <p:xfrm>
          <a:off x="4627243" y="1376213"/>
          <a:ext cx="4180057" cy="12917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69093">
                  <a:extLst>
                    <a:ext uri="{9D8B030D-6E8A-4147-A177-3AD203B41FA5}">
                      <a16:colId xmlns:a16="http://schemas.microsoft.com/office/drawing/2014/main" val="2748248703"/>
                    </a:ext>
                  </a:extLst>
                </a:gridCol>
                <a:gridCol w="1210964">
                  <a:extLst>
                    <a:ext uri="{9D8B030D-6E8A-4147-A177-3AD203B41FA5}">
                      <a16:colId xmlns:a16="http://schemas.microsoft.com/office/drawing/2014/main" val="1986231269"/>
                    </a:ext>
                  </a:extLst>
                </a:gridCol>
              </a:tblGrid>
              <a:tr h="224977">
                <a:tc>
                  <a:txBody>
                    <a:bodyPr/>
                    <a:lstStyle/>
                    <a:p>
                      <a:pPr marL="72000" algn="l" defTabSz="914400" rtl="0" eaLnBrk="1" latinLnBrk="0" hangingPunct="1">
                        <a:lnSpc>
                          <a:spcPct val="100000"/>
                        </a:lnSpc>
                      </a:pPr>
                      <a:endParaRPr lang="nl-NL" sz="1400" b="1" kern="1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7945" algn="ctr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400" b="1" kern="1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%</a:t>
                      </a:r>
                      <a:endParaRPr lang="nl-NL" sz="1400" b="1" kern="1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822804314"/>
                  </a:ext>
                </a:extLst>
              </a:tr>
              <a:tr h="356866">
                <a:tc>
                  <a:txBody>
                    <a:bodyPr/>
                    <a:lstStyle/>
                    <a:p>
                      <a:pPr marL="72000">
                        <a:lnSpc>
                          <a:spcPct val="100000"/>
                        </a:lnSpc>
                      </a:pPr>
                      <a:r>
                        <a:rPr lang="en-US" sz="1400" b="1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alve type: </a:t>
                      </a:r>
                      <a:br>
                        <a:rPr lang="en-US" sz="1400" b="1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1400" b="1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</a:t>
                      </a:r>
                      <a:r>
                        <a:rPr lang="en-US" sz="1400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dwards Magna Ease</a:t>
                      </a:r>
                      <a:r>
                        <a:rPr lang="nl-NL" sz="1400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/ Intuity</a:t>
                      </a:r>
                    </a:p>
                    <a:p>
                      <a:pPr marL="162560">
                        <a:lnSpc>
                          <a:spcPct val="100000"/>
                        </a:lnSpc>
                      </a:pPr>
                      <a:r>
                        <a:rPr lang="en-US" sz="1400" kern="1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ivanova</a:t>
                      </a:r>
                      <a:r>
                        <a:rPr lang="en-US" sz="1400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Perceval 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7945" algn="ctr" defTabSz="914400" rtl="0" eaLnBrk="1" latinLnBrk="0" hangingPunct="1">
                        <a:lnSpc>
                          <a:spcPct val="100000"/>
                        </a:lnSpc>
                      </a:pPr>
                      <a:endParaRPr lang="en-US" sz="1400" kern="1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67945" algn="ctr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400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9.7% / 12.2%</a:t>
                      </a:r>
                    </a:p>
                    <a:p>
                      <a:pPr marL="67945" algn="ctr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nl-NL" sz="1400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5.5%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130408565"/>
                  </a:ext>
                </a:extLst>
              </a:tr>
              <a:tr h="356866">
                <a:tc>
                  <a:txBody>
                    <a:bodyPr/>
                    <a:lstStyle/>
                    <a:p>
                      <a:pPr marL="6794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urgery approach:</a:t>
                      </a:r>
                      <a:r>
                        <a:rPr lang="en-US" sz="1400" b="1" kern="1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</a:p>
                    <a:p>
                      <a:pPr marL="6794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 Full / Mini</a:t>
                      </a:r>
                      <a:r>
                        <a:rPr lang="en-US" sz="1400" b="0" kern="1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sternotomy</a:t>
                      </a:r>
                      <a:endParaRPr lang="nl-NL" sz="1400" b="1" kern="1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794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6794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6.3%</a:t>
                      </a:r>
                      <a:r>
                        <a:rPr lang="nl-NL" sz="1400" kern="1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/ 27.3%</a:t>
                      </a:r>
                      <a:r>
                        <a:rPr lang="en-US" sz="1400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nl-NL" sz="1400" kern="1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599180429"/>
                  </a:ext>
                </a:extLst>
              </a:tr>
            </a:tbl>
          </a:graphicData>
        </a:graphic>
      </p:graphicFrame>
      <p:graphicFrame>
        <p:nvGraphicFramePr>
          <p:cNvPr id="2" name="Tableau 1"/>
          <p:cNvGraphicFramePr>
            <a:graphicFrameLocks noGrp="1"/>
          </p:cNvGraphicFramePr>
          <p:nvPr/>
        </p:nvGraphicFramePr>
        <p:xfrm>
          <a:off x="333068" y="2876893"/>
          <a:ext cx="3930650" cy="9223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42788">
                  <a:extLst>
                    <a:ext uri="{9D8B030D-6E8A-4147-A177-3AD203B41FA5}">
                      <a16:colId xmlns:a16="http://schemas.microsoft.com/office/drawing/2014/main" val="3984912892"/>
                    </a:ext>
                  </a:extLst>
                </a:gridCol>
                <a:gridCol w="987862">
                  <a:extLst>
                    <a:ext uri="{9D8B030D-6E8A-4147-A177-3AD203B41FA5}">
                      <a16:colId xmlns:a16="http://schemas.microsoft.com/office/drawing/2014/main" val="1835108067"/>
                    </a:ext>
                  </a:extLst>
                </a:gridCol>
              </a:tblGrid>
              <a:tr h="282312">
                <a:tc>
                  <a:txBody>
                    <a:bodyPr/>
                    <a:lstStyle/>
                    <a:p>
                      <a:pPr marL="72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00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oncomitant procedures</a:t>
                      </a:r>
                      <a:endParaRPr lang="nl-NL" sz="1400" b="1" kern="1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algn="ctr">
                        <a:lnSpc>
                          <a:spcPct val="100000"/>
                        </a:lnSpc>
                      </a:pPr>
                      <a:r>
                        <a:rPr lang="en-US" sz="1400" b="1" kern="1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%</a:t>
                      </a:r>
                      <a:r>
                        <a:rPr lang="en-US" sz="1400" b="0" kern="1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nl-NL" sz="1400" b="0" kern="1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7792002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2000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cutaneous Coronary Intervention </a:t>
                      </a:r>
                    </a:p>
                    <a:p>
                      <a:pPr marL="72000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cemaker implantation</a:t>
                      </a:r>
                    </a:p>
                    <a:p>
                      <a:pPr marL="72000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ther</a:t>
                      </a:r>
                      <a:endParaRPr lang="nl-NL" sz="14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7945" algn="ctr">
                        <a:lnSpc>
                          <a:spcPct val="100000"/>
                        </a:lnSpc>
                      </a:pPr>
                      <a:r>
                        <a:rPr lang="en-US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%</a:t>
                      </a:r>
                    </a:p>
                    <a:p>
                      <a:pPr marL="67945" algn="ctr">
                        <a:lnSpc>
                          <a:spcPct val="100000"/>
                        </a:lnSpc>
                      </a:pPr>
                      <a:r>
                        <a:rPr lang="en-US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5%</a:t>
                      </a:r>
                    </a:p>
                    <a:p>
                      <a:pPr marL="67945" algn="ctr">
                        <a:lnSpc>
                          <a:spcPct val="100000"/>
                        </a:lnSpc>
                      </a:pPr>
                      <a:r>
                        <a:rPr lang="nl-NL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%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224547305"/>
                  </a:ext>
                </a:extLst>
              </a:tr>
            </a:tbl>
          </a:graphicData>
        </a:graphic>
      </p:graphicFrame>
      <p:graphicFrame>
        <p:nvGraphicFramePr>
          <p:cNvPr id="4" name="Tableau 3"/>
          <p:cNvGraphicFramePr>
            <a:graphicFrameLocks noGrp="1"/>
          </p:cNvGraphicFramePr>
          <p:nvPr/>
        </p:nvGraphicFramePr>
        <p:xfrm>
          <a:off x="4627243" y="2881486"/>
          <a:ext cx="4180057" cy="17758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1741">
                  <a:extLst>
                    <a:ext uri="{9D8B030D-6E8A-4147-A177-3AD203B41FA5}">
                      <a16:colId xmlns:a16="http://schemas.microsoft.com/office/drawing/2014/main" val="1539184446"/>
                    </a:ext>
                  </a:extLst>
                </a:gridCol>
                <a:gridCol w="1138316">
                  <a:extLst>
                    <a:ext uri="{9D8B030D-6E8A-4147-A177-3AD203B41FA5}">
                      <a16:colId xmlns:a16="http://schemas.microsoft.com/office/drawing/2014/main" val="4120460196"/>
                    </a:ext>
                  </a:extLst>
                </a:gridCol>
              </a:tblGrid>
              <a:tr h="282312">
                <a:tc>
                  <a:txBody>
                    <a:bodyPr/>
                    <a:lstStyle/>
                    <a:p>
                      <a:pPr marL="72000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400" b="1" kern="100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oncomitant procedures</a:t>
                      </a:r>
                      <a:r>
                        <a:rPr lang="en-GB" sz="1400" b="1" kern="1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endParaRPr lang="nl-NL" sz="1400" b="1" kern="1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algn="ctr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400" b="1" kern="1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%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4149421566"/>
                  </a:ext>
                </a:extLst>
              </a:tr>
              <a:tr h="340667">
                <a:tc>
                  <a:txBody>
                    <a:bodyPr/>
                    <a:lstStyle/>
                    <a:p>
                      <a:pPr marL="72000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ABG</a:t>
                      </a:r>
                    </a:p>
                    <a:p>
                      <a:pPr marL="72000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ortic annulus enlargement</a:t>
                      </a:r>
                    </a:p>
                    <a:p>
                      <a:pPr marL="72000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urgery for AF</a:t>
                      </a:r>
                    </a:p>
                    <a:p>
                      <a:pPr marL="72000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scending Aorta replacement</a:t>
                      </a:r>
                    </a:p>
                    <a:p>
                      <a:pPr marL="72000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itral valve intervention</a:t>
                      </a:r>
                    </a:p>
                    <a:p>
                      <a:pPr marL="72000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ricuspid valve intervention</a:t>
                      </a:r>
                    </a:p>
                    <a:p>
                      <a:pPr marL="72000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ther</a:t>
                      </a:r>
                      <a:endParaRPr lang="nl-NL" sz="14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7945" algn="ctr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.8%</a:t>
                      </a:r>
                    </a:p>
                    <a:p>
                      <a:pPr marL="67945" algn="ctr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%</a:t>
                      </a:r>
                    </a:p>
                    <a:p>
                      <a:pPr marL="67945" algn="ctr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9%</a:t>
                      </a:r>
                    </a:p>
                    <a:p>
                      <a:pPr marL="67945" algn="ctr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5%</a:t>
                      </a:r>
                    </a:p>
                    <a:p>
                      <a:pPr marL="67945" algn="ctr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5%</a:t>
                      </a:r>
                    </a:p>
                    <a:p>
                      <a:pPr marL="67945" algn="ctr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nl-NL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0%</a:t>
                      </a:r>
                    </a:p>
                    <a:p>
                      <a:pPr marL="67945" algn="ctr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nl-NL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5%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951851189"/>
                  </a:ext>
                </a:extLst>
              </a:tr>
            </a:tbl>
          </a:graphicData>
        </a:graphic>
      </p:graphicFrame>
      <p:sp>
        <p:nvSpPr>
          <p:cNvPr id="10" name="Title 2">
            <a:extLst>
              <a:ext uri="{FF2B5EF4-FFF2-40B4-BE49-F238E27FC236}">
                <a16:creationId xmlns:a16="http://schemas.microsoft.com/office/drawing/2014/main" id="{822C15C5-0C79-416F-3BC3-CE1DBE07B978}"/>
              </a:ext>
            </a:extLst>
          </p:cNvPr>
          <p:cNvSpPr txBox="1">
            <a:spLocks/>
          </p:cNvSpPr>
          <p:nvPr/>
        </p:nvSpPr>
        <p:spPr bwMode="gray">
          <a:xfrm>
            <a:off x="1835696" y="915487"/>
            <a:ext cx="1080120" cy="36011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b="1" i="0" kern="1200" smtClean="0">
                <a:solidFill>
                  <a:schemeClr val="accent1"/>
                </a:solidFill>
                <a:latin typeface="+mj-lt"/>
                <a:ea typeface="+mn-ea"/>
                <a:cs typeface="Verdana"/>
              </a:defRPr>
            </a:lvl1pPr>
          </a:lstStyle>
          <a:p>
            <a:r>
              <a:rPr lang="nl-NL" sz="2000" dirty="0">
                <a:solidFill>
                  <a:srgbClr val="0070C0"/>
                </a:solidFill>
                <a:latin typeface="+mn-lt"/>
              </a:rPr>
              <a:t>TAVI</a:t>
            </a: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822C15C5-0C79-416F-3BC3-CE1DBE07B978}"/>
              </a:ext>
            </a:extLst>
          </p:cNvPr>
          <p:cNvSpPr txBox="1">
            <a:spLocks/>
          </p:cNvSpPr>
          <p:nvPr/>
        </p:nvSpPr>
        <p:spPr bwMode="gray">
          <a:xfrm>
            <a:off x="6084168" y="888039"/>
            <a:ext cx="1152128" cy="48817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b="1" i="0" kern="1200" smtClean="0">
                <a:solidFill>
                  <a:schemeClr val="accent1"/>
                </a:solidFill>
                <a:latin typeface="+mj-lt"/>
                <a:ea typeface="+mn-ea"/>
                <a:cs typeface="Verdana"/>
              </a:defRPr>
            </a:lvl1pPr>
          </a:lstStyle>
          <a:p>
            <a:r>
              <a:rPr lang="nl-NL" sz="2000" dirty="0">
                <a:solidFill>
                  <a:srgbClr val="C00000"/>
                </a:solidFill>
                <a:latin typeface="+mn-lt"/>
              </a:rPr>
              <a:t>Surgery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FCBE364-DABB-A317-09B3-B1A7984C20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6808" y="337665"/>
            <a:ext cx="978551" cy="587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68345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AC002B-21F3-F176-B3E5-4F0A0B636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lve size distribution</a:t>
            </a:r>
            <a:endParaRPr lang="nl-NL" dirty="0"/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E11389A0-A611-CF55-7F18-CEDB31212DD9}"/>
              </a:ext>
            </a:extLst>
          </p:cNvPr>
          <p:cNvGraphicFramePr>
            <a:graphicFrameLocks noGrp="1"/>
          </p:cNvGraphicFramePr>
          <p:nvPr>
            <p:ph sz="half" idx="1"/>
          </p:nvPr>
        </p:nvGraphicFramePr>
        <p:xfrm>
          <a:off x="549275" y="1189038"/>
          <a:ext cx="3930650" cy="3475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Content Placeholder 13">
            <a:extLst>
              <a:ext uri="{FF2B5EF4-FFF2-40B4-BE49-F238E27FC236}">
                <a16:creationId xmlns:a16="http://schemas.microsoft.com/office/drawing/2014/main" id="{5C81E8D1-432D-3E56-1C58-26FFC257A231}"/>
              </a:ext>
            </a:extLst>
          </p:cNvPr>
          <p:cNvGraphicFramePr>
            <a:graphicFrameLocks noGrp="1"/>
          </p:cNvGraphicFramePr>
          <p:nvPr>
            <p:ph sz="half" idx="2"/>
          </p:nvPr>
        </p:nvGraphicFramePr>
        <p:xfrm>
          <a:off x="4572000" y="1095213"/>
          <a:ext cx="4444429" cy="37589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7EC70AC6-54C7-FA91-B407-D17CBD496D94}"/>
              </a:ext>
            </a:extLst>
          </p:cNvPr>
          <p:cNvSpPr txBox="1"/>
          <p:nvPr/>
        </p:nvSpPr>
        <p:spPr>
          <a:xfrm>
            <a:off x="7616808" y="4227934"/>
            <a:ext cx="9361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700" indent="0" algn="l" defTabSz="3600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None/>
            </a:pPr>
            <a:r>
              <a:rPr lang="en-US" sz="1200" i="0" kern="1200" dirty="0">
                <a:solidFill>
                  <a:schemeClr val="tx1"/>
                </a:solidFill>
                <a:latin typeface="+mn-lt"/>
                <a:ea typeface="+mn-ea"/>
              </a:rPr>
              <a:t>No 29 mm</a:t>
            </a:r>
            <a:endParaRPr lang="nl-NL" sz="1200" i="0" kern="120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B9B144B-CE06-B84B-5896-1ADD804BF7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16808" y="337665"/>
            <a:ext cx="978551" cy="587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03282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22C15C5-0C79-416F-3BC3-CE1DBE07B9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Procedural Complications and Outcomes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62924A3D-A6D7-797C-01D5-76CA7F69F175}"/>
              </a:ext>
            </a:extLst>
          </p:cNvPr>
          <p:cNvGraphicFramePr>
            <a:graphicFrameLocks noGrp="1"/>
          </p:cNvGraphicFramePr>
          <p:nvPr>
            <p:ph sz="half" idx="4294967295"/>
          </p:nvPr>
        </p:nvGraphicFramePr>
        <p:xfrm>
          <a:off x="395536" y="924796"/>
          <a:ext cx="5976665" cy="19052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57828">
                  <a:extLst>
                    <a:ext uri="{9D8B030D-6E8A-4147-A177-3AD203B41FA5}">
                      <a16:colId xmlns:a16="http://schemas.microsoft.com/office/drawing/2014/main" val="2953522009"/>
                    </a:ext>
                  </a:extLst>
                </a:gridCol>
                <a:gridCol w="1042442">
                  <a:extLst>
                    <a:ext uri="{9D8B030D-6E8A-4147-A177-3AD203B41FA5}">
                      <a16:colId xmlns:a16="http://schemas.microsoft.com/office/drawing/2014/main" val="3619852855"/>
                    </a:ext>
                  </a:extLst>
                </a:gridCol>
                <a:gridCol w="972946">
                  <a:extLst>
                    <a:ext uri="{9D8B030D-6E8A-4147-A177-3AD203B41FA5}">
                      <a16:colId xmlns:a16="http://schemas.microsoft.com/office/drawing/2014/main" val="670207620"/>
                    </a:ext>
                  </a:extLst>
                </a:gridCol>
                <a:gridCol w="903449">
                  <a:extLst>
                    <a:ext uri="{9D8B030D-6E8A-4147-A177-3AD203B41FA5}">
                      <a16:colId xmlns:a16="http://schemas.microsoft.com/office/drawing/2014/main" val="366783622"/>
                    </a:ext>
                  </a:extLst>
                </a:gridCol>
              </a:tblGrid>
              <a:tr h="389457"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</a:pPr>
                      <a:r>
                        <a:rPr lang="en-US" sz="1400" b="1" kern="1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omplication / Outcome</a:t>
                      </a:r>
                      <a:endParaRPr lang="nl-NL" sz="1400" b="1" kern="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algn="ctr">
                        <a:lnSpc>
                          <a:spcPct val="100000"/>
                        </a:lnSpc>
                      </a:pPr>
                      <a:r>
                        <a:rPr lang="en-US" sz="1400" b="1" kern="1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AVI </a:t>
                      </a:r>
                    </a:p>
                    <a:p>
                      <a:pPr marL="67945" algn="ctr">
                        <a:lnSpc>
                          <a:spcPct val="100000"/>
                        </a:lnSpc>
                      </a:pPr>
                      <a:r>
                        <a:rPr lang="en-US" sz="1400" b="1" kern="1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N=215)</a:t>
                      </a:r>
                      <a:endParaRPr lang="nl-NL" sz="1400" b="1" kern="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algn="ctr">
                        <a:lnSpc>
                          <a:spcPct val="100000"/>
                        </a:lnSpc>
                      </a:pPr>
                      <a:r>
                        <a:rPr lang="en-US" sz="1400" b="1" kern="1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urgery</a:t>
                      </a:r>
                    </a:p>
                    <a:p>
                      <a:pPr marL="67945" algn="ctr">
                        <a:lnSpc>
                          <a:spcPct val="100000"/>
                        </a:lnSpc>
                      </a:pPr>
                      <a:r>
                        <a:rPr lang="en-US" sz="1400" b="1" kern="1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N=205)</a:t>
                      </a:r>
                      <a:endParaRPr lang="nl-NL" sz="1400" b="1" kern="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algn="ctr">
                        <a:lnSpc>
                          <a:spcPct val="100000"/>
                        </a:lnSpc>
                      </a:pPr>
                      <a:r>
                        <a:rPr lang="nl-NL" sz="1400" b="1" kern="1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-Value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402712837"/>
                  </a:ext>
                </a:extLst>
              </a:tr>
              <a:tr h="295707">
                <a:tc>
                  <a:txBody>
                    <a:bodyPr/>
                    <a:lstStyle/>
                    <a:p>
                      <a:pPr marL="72000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nl-NL" sz="1400" b="0" strike="noStrike" kern="1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-hospital</a:t>
                      </a:r>
                      <a:r>
                        <a:rPr lang="nl-NL" sz="1400" b="0" strike="noStrike" kern="100" baseline="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eath </a:t>
                      </a:r>
                      <a:r>
                        <a:rPr lang="en-US" sz="1400" b="0" kern="1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– %</a:t>
                      </a:r>
                      <a:endParaRPr lang="nl-NL" sz="1400" b="0" strike="noStrike" kern="1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5%</a:t>
                      </a:r>
                      <a:endParaRPr lang="nl-NL" sz="1400" b="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5%</a:t>
                      </a:r>
                      <a:endParaRPr lang="nl-NL" sz="1400" b="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algn="ctr">
                        <a:lnSpc>
                          <a:spcPct val="100000"/>
                        </a:lnSpc>
                      </a:pPr>
                      <a:r>
                        <a:rPr lang="cs-CZ" sz="14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00</a:t>
                      </a:r>
                      <a:endParaRPr lang="nl-NL" sz="1400" b="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78521311"/>
                  </a:ext>
                </a:extLst>
              </a:tr>
              <a:tr h="295707">
                <a:tc>
                  <a:txBody>
                    <a:bodyPr/>
                    <a:lstStyle/>
                    <a:p>
                      <a:pPr marL="72000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400" b="0" strike="noStrike" kern="1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alve embolization - %</a:t>
                      </a:r>
                      <a:endParaRPr lang="nl-NL" sz="1400" b="0" strike="noStrike" kern="1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4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A</a:t>
                      </a:r>
                      <a:endParaRPr lang="nl-NL" sz="1400" b="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algn="ctr">
                        <a:lnSpc>
                          <a:spcPct val="100000"/>
                        </a:lnSpc>
                      </a:pPr>
                      <a:r>
                        <a:rPr lang="en-US" sz="14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A</a:t>
                      </a:r>
                      <a:endParaRPr lang="nl-NL" sz="1400" b="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5728131"/>
                  </a:ext>
                </a:extLst>
              </a:tr>
              <a:tr h="295707">
                <a:tc>
                  <a:txBody>
                    <a:bodyPr/>
                    <a:lstStyle/>
                    <a:p>
                      <a:pPr marL="72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400" b="0" kern="1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nnulus ruptur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4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4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A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algn="ctr">
                        <a:lnSpc>
                          <a:spcPct val="100000"/>
                        </a:lnSpc>
                      </a:pPr>
                      <a:r>
                        <a:rPr lang="en-US" sz="14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A</a:t>
                      </a:r>
                      <a:endParaRPr lang="nl-NL" sz="1400" b="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259595362"/>
                  </a:ext>
                </a:extLst>
              </a:tr>
              <a:tr h="295707">
                <a:tc>
                  <a:txBody>
                    <a:bodyPr/>
                    <a:lstStyle/>
                    <a:p>
                      <a:pPr marL="72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ortic dissection </a:t>
                      </a:r>
                      <a:endParaRPr lang="nl-NL" sz="1400" b="0" kern="1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5%</a:t>
                      </a:r>
                      <a:endParaRPr lang="nl-NL" sz="1400" b="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4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algn="ctr">
                        <a:lnSpc>
                          <a:spcPct val="100000"/>
                        </a:lnSpc>
                      </a:pPr>
                      <a:r>
                        <a:rPr lang="en-US" sz="14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00</a:t>
                      </a:r>
                      <a:endParaRPr lang="nl-NL" sz="1400" b="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781719887"/>
                  </a:ext>
                </a:extLst>
              </a:tr>
              <a:tr h="295707">
                <a:tc>
                  <a:txBody>
                    <a:bodyPr/>
                    <a:lstStyle/>
                    <a:p>
                      <a:pPr marL="72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400" b="0" kern="1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oronary</a:t>
                      </a:r>
                      <a:r>
                        <a:rPr lang="nl-NL" sz="1400" b="0" kern="100" baseline="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obstruction</a:t>
                      </a:r>
                      <a:endParaRPr lang="nl-NL" sz="1400" b="0" kern="1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4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5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4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algn="ctr">
                        <a:lnSpc>
                          <a:spcPct val="100000"/>
                        </a:lnSpc>
                      </a:pPr>
                      <a:r>
                        <a:rPr lang="en-US" sz="14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00</a:t>
                      </a:r>
                      <a:endParaRPr lang="nl-NL" sz="1400" b="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87980607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22516A9F-3720-9C1F-E737-E730AE8342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6808" y="337665"/>
            <a:ext cx="978551" cy="587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1186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1923F42-4C6E-7FFC-16B8-81FFCBBFE1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tient Enrollment</a:t>
            </a:r>
            <a:endParaRPr lang="nl-NL" dirty="0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D632134E-1F70-A2AA-CD42-D0DD57390806}"/>
              </a:ext>
            </a:extLst>
          </p:cNvPr>
          <p:cNvSpPr/>
          <p:nvPr/>
        </p:nvSpPr>
        <p:spPr>
          <a:xfrm>
            <a:off x="946233" y="861604"/>
            <a:ext cx="1656184" cy="648861"/>
          </a:xfrm>
          <a:prstGeom prst="roundRect">
            <a:avLst/>
          </a:prstGeom>
          <a:ln>
            <a:solidFill>
              <a:srgbClr val="00206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Patients </a:t>
            </a:r>
            <a:r>
              <a:rPr lang="en-US" sz="1200" b="1" dirty="0"/>
              <a:t>screened</a:t>
            </a:r>
            <a:br>
              <a:rPr lang="en-US" sz="1200" b="1" dirty="0"/>
            </a:br>
            <a:r>
              <a:rPr lang="en-US" sz="1200" dirty="0"/>
              <a:t>Nov 2019 - Mar 2023 (N=490)</a:t>
            </a:r>
            <a:endParaRPr lang="nl-NL" sz="1200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C9B7D1B-4CC9-A550-EEE9-0F0C9766EF5E}"/>
              </a:ext>
            </a:extLst>
          </p:cNvPr>
          <p:cNvSpPr/>
          <p:nvPr/>
        </p:nvSpPr>
        <p:spPr>
          <a:xfrm>
            <a:off x="3360928" y="852449"/>
            <a:ext cx="2424109" cy="648861"/>
          </a:xfrm>
          <a:prstGeom prst="roundRect">
            <a:avLst/>
          </a:prstGeom>
          <a:ln>
            <a:solidFill>
              <a:srgbClr val="00206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Eligible for </a:t>
            </a:r>
            <a:r>
              <a:rPr lang="en-US" sz="1200" b="1" dirty="0"/>
              <a:t>Enrollment</a:t>
            </a:r>
            <a:r>
              <a:rPr lang="en-US" sz="1200" dirty="0"/>
              <a:t> and </a:t>
            </a:r>
            <a:r>
              <a:rPr lang="en-US" sz="1200" b="1" dirty="0"/>
              <a:t>Randomization</a:t>
            </a:r>
            <a:r>
              <a:rPr lang="en-US" sz="1200" dirty="0"/>
              <a:t> (N=443)</a:t>
            </a:r>
            <a:endParaRPr lang="nl-NL" sz="1200" dirty="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6F7EB49E-5F8E-9F2B-3149-8359E93DDD8D}"/>
              </a:ext>
            </a:extLst>
          </p:cNvPr>
          <p:cNvSpPr/>
          <p:nvPr/>
        </p:nvSpPr>
        <p:spPr>
          <a:xfrm>
            <a:off x="3368920" y="1851670"/>
            <a:ext cx="1074009" cy="720080"/>
          </a:xfrm>
          <a:prstGeom prst="roundRect">
            <a:avLst/>
          </a:prstGeom>
          <a:ln>
            <a:solidFill>
              <a:srgbClr val="0070C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rgbClr val="0070C0"/>
                </a:solidFill>
              </a:rPr>
              <a:t>TAVI (ITT)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N=221</a:t>
            </a:r>
            <a:endParaRPr lang="nl-NL" sz="1200" dirty="0">
              <a:solidFill>
                <a:schemeClr val="tx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D8392B08-5C76-808C-0AF2-07DCF3A666FD}"/>
              </a:ext>
            </a:extLst>
          </p:cNvPr>
          <p:cNvSpPr/>
          <p:nvPr/>
        </p:nvSpPr>
        <p:spPr>
          <a:xfrm>
            <a:off x="4701072" y="1851670"/>
            <a:ext cx="1083965" cy="720080"/>
          </a:xfrm>
          <a:prstGeom prst="round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rgbClr val="C00000"/>
                </a:solidFill>
              </a:rPr>
              <a:t>Surgery (ITT)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N=222</a:t>
            </a:r>
            <a:endParaRPr lang="nl-NL" sz="1200" dirty="0">
              <a:solidFill>
                <a:schemeClr val="tx1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626A42F1-FD2E-FEB6-7790-599E6B2BD484}"/>
              </a:ext>
            </a:extLst>
          </p:cNvPr>
          <p:cNvSpPr/>
          <p:nvPr/>
        </p:nvSpPr>
        <p:spPr>
          <a:xfrm>
            <a:off x="954489" y="1634301"/>
            <a:ext cx="1656181" cy="402570"/>
          </a:xfrm>
          <a:prstGeom prst="roundRect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Excluded</a:t>
            </a:r>
            <a:r>
              <a:rPr lang="en-US" sz="1200" dirty="0"/>
              <a:t> from randomization N=47</a:t>
            </a:r>
            <a:endParaRPr lang="nl-NL" sz="1200" dirty="0"/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F50FB6BE-94A9-7BF4-7E0B-2C22EED40182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 flipV="1">
            <a:off x="2602417" y="1176880"/>
            <a:ext cx="758511" cy="9155"/>
          </a:xfrm>
          <a:prstGeom prst="straightConnector1">
            <a:avLst/>
          </a:prstGeom>
          <a:ln w="254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FD179557-A3A7-32DD-816D-EE24C6BE1783}"/>
              </a:ext>
            </a:extLst>
          </p:cNvPr>
          <p:cNvCxnSpPr>
            <a:cxnSpLocks/>
            <a:stCxn id="9" idx="2"/>
            <a:endCxn id="37" idx="0"/>
          </p:cNvCxnSpPr>
          <p:nvPr/>
        </p:nvCxnSpPr>
        <p:spPr>
          <a:xfrm flipH="1">
            <a:off x="3899943" y="2571750"/>
            <a:ext cx="5982" cy="704219"/>
          </a:xfrm>
          <a:prstGeom prst="straightConnector1">
            <a:avLst/>
          </a:prstGeom>
          <a:ln w="254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8FAD62BB-AB32-F8C9-DF3E-6893A874D739}"/>
              </a:ext>
            </a:extLst>
          </p:cNvPr>
          <p:cNvCxnSpPr>
            <a:cxnSpLocks/>
          </p:cNvCxnSpPr>
          <p:nvPr/>
        </p:nvCxnSpPr>
        <p:spPr>
          <a:xfrm>
            <a:off x="3905925" y="1480868"/>
            <a:ext cx="0" cy="370802"/>
          </a:xfrm>
          <a:prstGeom prst="straightConnector1">
            <a:avLst/>
          </a:prstGeom>
          <a:ln w="254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AB6E0EDE-D03B-D8D8-290B-2A3BD5F70AE8}"/>
              </a:ext>
            </a:extLst>
          </p:cNvPr>
          <p:cNvCxnSpPr>
            <a:cxnSpLocks/>
          </p:cNvCxnSpPr>
          <p:nvPr/>
        </p:nvCxnSpPr>
        <p:spPr>
          <a:xfrm flipH="1">
            <a:off x="2836496" y="2715766"/>
            <a:ext cx="1065119" cy="0"/>
          </a:xfrm>
          <a:prstGeom prst="straightConnector1">
            <a:avLst/>
          </a:prstGeom>
          <a:ln w="25400">
            <a:solidFill>
              <a:srgbClr val="00206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1">
            <a:extLst>
              <a:ext uri="{FF2B5EF4-FFF2-40B4-BE49-F238E27FC236}">
                <a16:creationId xmlns:a16="http://schemas.microsoft.com/office/drawing/2014/main" id="{802124DD-118D-0C1A-6AC9-93A928299E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6808" y="337665"/>
            <a:ext cx="978551" cy="587131"/>
          </a:xfrm>
          <a:prstGeom prst="rect">
            <a:avLst/>
          </a:prstGeom>
        </p:spPr>
      </p:pic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3B2ACB3A-DD46-5A93-D835-ECEC3B8B5C0B}"/>
              </a:ext>
            </a:extLst>
          </p:cNvPr>
          <p:cNvSpPr/>
          <p:nvPr/>
        </p:nvSpPr>
        <p:spPr>
          <a:xfrm>
            <a:off x="3359884" y="3275969"/>
            <a:ext cx="1080117" cy="791613"/>
          </a:xfrm>
          <a:prstGeom prst="roundRect">
            <a:avLst/>
          </a:prstGeom>
          <a:ln>
            <a:solidFill>
              <a:srgbClr val="0070C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rgbClr val="0070C0"/>
                </a:solidFill>
              </a:rPr>
              <a:t>Procedure initiated (AT)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N=215</a:t>
            </a:r>
            <a:endParaRPr lang="nl-NL" sz="1200" dirty="0">
              <a:solidFill>
                <a:schemeClr val="tx1"/>
              </a:solidFill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EE19EC77-DD69-9851-B410-7DD6E1A38097}"/>
              </a:ext>
            </a:extLst>
          </p:cNvPr>
          <p:cNvSpPr/>
          <p:nvPr/>
        </p:nvSpPr>
        <p:spPr>
          <a:xfrm>
            <a:off x="4704920" y="3275969"/>
            <a:ext cx="1080117" cy="791613"/>
          </a:xfrm>
          <a:prstGeom prst="round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rgbClr val="C00000"/>
                </a:solidFill>
              </a:rPr>
              <a:t>Procedure initiated (AT)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N=205</a:t>
            </a:r>
            <a:endParaRPr lang="nl-NL" sz="1200" dirty="0">
              <a:solidFill>
                <a:schemeClr val="tx1"/>
              </a:solidFill>
            </a:endParaRP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6ED0B1B5-F96F-F9B6-16D1-56F5CB5697C9}"/>
              </a:ext>
            </a:extLst>
          </p:cNvPr>
          <p:cNvSpPr/>
          <p:nvPr/>
        </p:nvSpPr>
        <p:spPr>
          <a:xfrm>
            <a:off x="1633900" y="3378211"/>
            <a:ext cx="1205007" cy="587131"/>
          </a:xfrm>
          <a:prstGeom prst="roundRect">
            <a:avLst/>
          </a:prstGeom>
          <a:ln>
            <a:solidFill>
              <a:srgbClr val="0070C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en-US" sz="1200" b="1" dirty="0">
                <a:solidFill>
                  <a:srgbClr val="0070C0"/>
                </a:solidFill>
              </a:rPr>
              <a:t>30 Day FU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212/215 (98.6%)</a:t>
            </a:r>
            <a:endParaRPr lang="nl-NL" sz="1200" dirty="0">
              <a:solidFill>
                <a:schemeClr val="tx1"/>
              </a:solidFill>
            </a:endParaRP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BA0EB3A4-92E5-2882-8E0D-3B3C13BC1582}"/>
              </a:ext>
            </a:extLst>
          </p:cNvPr>
          <p:cNvSpPr/>
          <p:nvPr/>
        </p:nvSpPr>
        <p:spPr>
          <a:xfrm>
            <a:off x="1633900" y="4144859"/>
            <a:ext cx="1205006" cy="587131"/>
          </a:xfrm>
          <a:prstGeom prst="roundRect">
            <a:avLst/>
          </a:prstGeom>
          <a:ln>
            <a:solidFill>
              <a:srgbClr val="0070C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en-US" sz="1200" b="1" dirty="0">
                <a:solidFill>
                  <a:srgbClr val="0070C0"/>
                </a:solidFill>
              </a:rPr>
              <a:t>1 year FU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210/215 (97.7%)</a:t>
            </a:r>
            <a:endParaRPr lang="nl-NL" sz="1200" dirty="0">
              <a:solidFill>
                <a:schemeClr val="tx1"/>
              </a:solidFill>
            </a:endParaRP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637683F1-C9D3-2616-91EF-D680A5FA40D0}"/>
              </a:ext>
            </a:extLst>
          </p:cNvPr>
          <p:cNvSpPr/>
          <p:nvPr/>
        </p:nvSpPr>
        <p:spPr>
          <a:xfrm>
            <a:off x="6302686" y="3378211"/>
            <a:ext cx="1205005" cy="587131"/>
          </a:xfrm>
          <a:prstGeom prst="roundRect">
            <a:avLst/>
          </a:prstGeom>
          <a:ln>
            <a:solidFill>
              <a:srgbClr val="C0000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en-US" sz="1200" b="1" dirty="0">
                <a:solidFill>
                  <a:srgbClr val="C00000"/>
                </a:solidFill>
              </a:rPr>
              <a:t>30 Day FU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200/205 (97.6%)</a:t>
            </a:r>
            <a:endParaRPr lang="nl-NL" sz="1200" dirty="0">
              <a:solidFill>
                <a:schemeClr val="tx1"/>
              </a:solidFill>
            </a:endParaRP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27F30E27-9DDF-1D58-6BA4-B29F999B885D}"/>
              </a:ext>
            </a:extLst>
          </p:cNvPr>
          <p:cNvSpPr/>
          <p:nvPr/>
        </p:nvSpPr>
        <p:spPr>
          <a:xfrm>
            <a:off x="6305095" y="4144859"/>
            <a:ext cx="1205005" cy="587131"/>
          </a:xfrm>
          <a:prstGeom prst="roundRect">
            <a:avLst/>
          </a:prstGeom>
          <a:ln>
            <a:solidFill>
              <a:srgbClr val="C0000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en-US" sz="1200" b="1" dirty="0">
                <a:solidFill>
                  <a:srgbClr val="C00000"/>
                </a:solidFill>
              </a:rPr>
              <a:t>1 year FU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198/205 (96.8%)</a:t>
            </a:r>
            <a:endParaRPr lang="nl-NL" sz="1200" dirty="0">
              <a:solidFill>
                <a:schemeClr val="tx1"/>
              </a:solidFill>
            </a:endParaRPr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5EB4F821-7D5B-6913-FEDC-02C69C001C74}"/>
              </a:ext>
            </a:extLst>
          </p:cNvPr>
          <p:cNvCxnSpPr>
            <a:cxnSpLocks/>
          </p:cNvCxnSpPr>
          <p:nvPr/>
        </p:nvCxnSpPr>
        <p:spPr>
          <a:xfrm>
            <a:off x="5243054" y="1506998"/>
            <a:ext cx="0" cy="365924"/>
          </a:xfrm>
          <a:prstGeom prst="straightConnector1">
            <a:avLst/>
          </a:prstGeom>
          <a:ln w="25400">
            <a:solidFill>
              <a:srgbClr val="002060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80592147-3982-8CCC-7506-C2373B67B6F1}"/>
              </a:ext>
            </a:extLst>
          </p:cNvPr>
          <p:cNvCxnSpPr>
            <a:cxnSpLocks/>
            <a:stCxn id="10" idx="2"/>
            <a:endCxn id="38" idx="0"/>
          </p:cNvCxnSpPr>
          <p:nvPr/>
        </p:nvCxnSpPr>
        <p:spPr>
          <a:xfrm>
            <a:off x="5243055" y="2571750"/>
            <a:ext cx="1924" cy="704219"/>
          </a:xfrm>
          <a:prstGeom prst="straightConnector1">
            <a:avLst/>
          </a:prstGeom>
          <a:ln w="25400">
            <a:solidFill>
              <a:srgbClr val="002060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ctor: Elbow 60">
            <a:extLst>
              <a:ext uri="{FF2B5EF4-FFF2-40B4-BE49-F238E27FC236}">
                <a16:creationId xmlns:a16="http://schemas.microsoft.com/office/drawing/2014/main" id="{395DEE0B-F7A1-917D-AE6E-F6C0CC3FFAD6}"/>
              </a:ext>
            </a:extLst>
          </p:cNvPr>
          <p:cNvCxnSpPr>
            <a:cxnSpLocks/>
            <a:endCxn id="11" idx="3"/>
          </p:cNvCxnSpPr>
          <p:nvPr/>
        </p:nvCxnSpPr>
        <p:spPr>
          <a:xfrm rot="5400000">
            <a:off x="2467686" y="1313829"/>
            <a:ext cx="664741" cy="378772"/>
          </a:xfrm>
          <a:prstGeom prst="bentConnector2">
            <a:avLst/>
          </a:prstGeom>
          <a:ln w="25400">
            <a:solidFill>
              <a:srgbClr val="00206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5F54E184-EA4D-40BF-7048-91835C5EF6DE}"/>
              </a:ext>
            </a:extLst>
          </p:cNvPr>
          <p:cNvCxnSpPr>
            <a:cxnSpLocks/>
            <a:stCxn id="37" idx="1"/>
            <a:endCxn id="46" idx="3"/>
          </p:cNvCxnSpPr>
          <p:nvPr/>
        </p:nvCxnSpPr>
        <p:spPr>
          <a:xfrm flipH="1">
            <a:off x="2838907" y="3671776"/>
            <a:ext cx="520977" cy="1"/>
          </a:xfrm>
          <a:prstGeom prst="straightConnector1">
            <a:avLst/>
          </a:prstGeom>
          <a:ln w="254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E1ED0C3F-9A01-6FDE-CDD9-CECCE597C4AC}"/>
              </a:ext>
            </a:extLst>
          </p:cNvPr>
          <p:cNvCxnSpPr>
            <a:cxnSpLocks/>
            <a:stCxn id="46" idx="2"/>
            <a:endCxn id="47" idx="0"/>
          </p:cNvCxnSpPr>
          <p:nvPr/>
        </p:nvCxnSpPr>
        <p:spPr>
          <a:xfrm flipH="1">
            <a:off x="2236403" y="3965342"/>
            <a:ext cx="1" cy="179517"/>
          </a:xfrm>
          <a:prstGeom prst="straightConnector1">
            <a:avLst/>
          </a:prstGeom>
          <a:ln w="254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C53E016E-0FA1-A52D-2763-3A5C6AA23486}"/>
              </a:ext>
            </a:extLst>
          </p:cNvPr>
          <p:cNvCxnSpPr>
            <a:cxnSpLocks/>
            <a:stCxn id="48" idx="2"/>
            <a:endCxn id="49" idx="0"/>
          </p:cNvCxnSpPr>
          <p:nvPr/>
        </p:nvCxnSpPr>
        <p:spPr>
          <a:xfrm>
            <a:off x="6905189" y="3965342"/>
            <a:ext cx="2409" cy="179517"/>
          </a:xfrm>
          <a:prstGeom prst="straightConnector1">
            <a:avLst/>
          </a:prstGeom>
          <a:ln w="254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80">
            <a:extLst>
              <a:ext uri="{FF2B5EF4-FFF2-40B4-BE49-F238E27FC236}">
                <a16:creationId xmlns:a16="http://schemas.microsoft.com/office/drawing/2014/main" id="{D3E3145A-061E-9323-6989-330ABEF3F781}"/>
              </a:ext>
            </a:extLst>
          </p:cNvPr>
          <p:cNvCxnSpPr>
            <a:cxnSpLocks/>
            <a:stCxn id="38" idx="3"/>
            <a:endCxn id="48" idx="1"/>
          </p:cNvCxnSpPr>
          <p:nvPr/>
        </p:nvCxnSpPr>
        <p:spPr>
          <a:xfrm>
            <a:off x="5785037" y="3671776"/>
            <a:ext cx="517649" cy="1"/>
          </a:xfrm>
          <a:prstGeom prst="straightConnector1">
            <a:avLst/>
          </a:prstGeom>
          <a:ln w="254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tangle: Rounded Corners 85">
            <a:extLst>
              <a:ext uri="{FF2B5EF4-FFF2-40B4-BE49-F238E27FC236}">
                <a16:creationId xmlns:a16="http://schemas.microsoft.com/office/drawing/2014/main" id="{93110335-E6E1-3EF5-E8FA-1C8338B47B2D}"/>
              </a:ext>
            </a:extLst>
          </p:cNvPr>
          <p:cNvSpPr/>
          <p:nvPr/>
        </p:nvSpPr>
        <p:spPr>
          <a:xfrm>
            <a:off x="1633900" y="2499742"/>
            <a:ext cx="1202596" cy="402570"/>
          </a:xfrm>
          <a:prstGeom prst="roundRect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en-US" sz="1200" b="1" dirty="0"/>
              <a:t>Excluded</a:t>
            </a:r>
            <a:r>
              <a:rPr lang="en-US" sz="1200" dirty="0"/>
              <a:t> before treatment N=6</a:t>
            </a:r>
            <a:endParaRPr lang="nl-NL" sz="1200" dirty="0"/>
          </a:p>
        </p:txBody>
      </p:sp>
      <p:sp>
        <p:nvSpPr>
          <p:cNvPr id="90" name="Rectangle: Rounded Corners 89">
            <a:extLst>
              <a:ext uri="{FF2B5EF4-FFF2-40B4-BE49-F238E27FC236}">
                <a16:creationId xmlns:a16="http://schemas.microsoft.com/office/drawing/2014/main" id="{90C71F3C-66EE-55D9-CEDE-94B1C568B230}"/>
              </a:ext>
            </a:extLst>
          </p:cNvPr>
          <p:cNvSpPr/>
          <p:nvPr/>
        </p:nvSpPr>
        <p:spPr>
          <a:xfrm>
            <a:off x="6305095" y="2499742"/>
            <a:ext cx="1202596" cy="402570"/>
          </a:xfrm>
          <a:prstGeom prst="roundRect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en-US" sz="1200" b="1" dirty="0"/>
              <a:t>Excluded</a:t>
            </a:r>
            <a:r>
              <a:rPr lang="en-US" sz="1200" dirty="0"/>
              <a:t> before treatment N=17</a:t>
            </a:r>
            <a:endParaRPr lang="nl-NL" sz="1200" dirty="0"/>
          </a:p>
        </p:txBody>
      </p:sp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1333C04F-7F96-85A7-F6A2-9427387C0282}"/>
              </a:ext>
            </a:extLst>
          </p:cNvPr>
          <p:cNvCxnSpPr>
            <a:cxnSpLocks/>
          </p:cNvCxnSpPr>
          <p:nvPr/>
        </p:nvCxnSpPr>
        <p:spPr>
          <a:xfrm>
            <a:off x="5246228" y="2715766"/>
            <a:ext cx="1058867" cy="0"/>
          </a:xfrm>
          <a:prstGeom prst="straightConnector1">
            <a:avLst/>
          </a:prstGeom>
          <a:ln w="25400">
            <a:solidFill>
              <a:srgbClr val="00206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TextBox 117">
            <a:extLst>
              <a:ext uri="{FF2B5EF4-FFF2-40B4-BE49-F238E27FC236}">
                <a16:creationId xmlns:a16="http://schemas.microsoft.com/office/drawing/2014/main" id="{4B0D11A4-CFAA-A269-FC8F-A6A76473106E}"/>
              </a:ext>
            </a:extLst>
          </p:cNvPr>
          <p:cNvSpPr txBox="1"/>
          <p:nvPr/>
        </p:nvSpPr>
        <p:spPr>
          <a:xfrm>
            <a:off x="3768253" y="4378485"/>
            <a:ext cx="1611912" cy="498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700" indent="0" algn="l" defTabSz="3600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None/>
            </a:pPr>
            <a:r>
              <a:rPr lang="en-US" sz="1200" i="1" kern="1200" dirty="0">
                <a:solidFill>
                  <a:schemeClr val="tx1"/>
                </a:solidFill>
              </a:rPr>
              <a:t>ITT: Intention To Treat</a:t>
            </a:r>
          </a:p>
          <a:p>
            <a:pPr marL="38700" indent="0" algn="l" defTabSz="3600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None/>
            </a:pPr>
            <a:r>
              <a:rPr lang="en-US" sz="1200" i="1" dirty="0"/>
              <a:t>AT: As Treated</a:t>
            </a:r>
            <a:endParaRPr lang="nl-NL" sz="1200" i="1" kern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20976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  <p:bldP spid="37" grpId="0" animBg="1"/>
      <p:bldP spid="38" grpId="0" animBg="1"/>
      <p:bldP spid="46" grpId="0" animBg="1"/>
      <p:bldP spid="47" grpId="0" animBg="1"/>
      <p:bldP spid="48" grpId="0" animBg="1"/>
      <p:bldP spid="49" grpId="0" animBg="1"/>
      <p:bldP spid="86" grpId="0" animBg="1"/>
      <p:bldP spid="90" grpId="0" animBg="1"/>
      <p:bldP spid="118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A293AB-D9CF-9AC8-BDC2-D7A338611B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rimary Endpoint </a:t>
            </a:r>
            <a:r>
              <a:rPr lang="en-US" dirty="0"/>
              <a:t>Kaplan–Meier Estimates</a:t>
            </a:r>
            <a:endParaRPr lang="nl-NL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6D656A-E550-5BE1-B8CC-4A73B975E8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29199" y="4924044"/>
            <a:ext cx="366161" cy="219456"/>
          </a:xfrm>
        </p:spPr>
        <p:txBody>
          <a:bodyPr/>
          <a:lstStyle/>
          <a:p>
            <a:pPr algn="r" defTabSz="685800">
              <a:defRPr/>
            </a:pPr>
            <a:fld id="{CDBA9528-BCFE-1E43-A37D-912FF3C527A6}" type="slidenum">
              <a:rPr lang="en-US" sz="700">
                <a:solidFill>
                  <a:srgbClr val="505759"/>
                </a:solidFill>
                <a:latin typeface="Arial"/>
              </a:rPr>
              <a:pPr algn="r" defTabSz="685800">
                <a:defRPr/>
              </a:pPr>
              <a:t>30</a:t>
            </a:fld>
            <a:endParaRPr lang="en-US" sz="700">
              <a:solidFill>
                <a:srgbClr val="505759"/>
              </a:solidFill>
              <a:latin typeface="Arial"/>
            </a:endParaRPr>
          </a:p>
        </p:txBody>
      </p:sp>
      <p:pic>
        <p:nvPicPr>
          <p:cNvPr id="3" name="Grafik 22">
            <a:extLst>
              <a:ext uri="{FF2B5EF4-FFF2-40B4-BE49-F238E27FC236}">
                <a16:creationId xmlns:a16="http://schemas.microsoft.com/office/drawing/2014/main" id="{DCF5A26A-6E14-0A4B-A017-ECDD3FED8A0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6689" y="298120"/>
            <a:ext cx="1045544" cy="627326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7667" y="1028631"/>
            <a:ext cx="4399200" cy="293280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5095" y="1028631"/>
            <a:ext cx="4399200" cy="293280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47" b="21607"/>
          <a:stretch/>
        </p:blipFill>
        <p:spPr>
          <a:xfrm>
            <a:off x="2534400" y="1065990"/>
            <a:ext cx="4247756" cy="3017928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400"/>
          <a:stretch/>
        </p:blipFill>
        <p:spPr>
          <a:xfrm>
            <a:off x="2377667" y="3961431"/>
            <a:ext cx="4406628" cy="770559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12155D2-7ECB-8A77-8D60-367E296B5175}"/>
              </a:ext>
            </a:extLst>
          </p:cNvPr>
          <p:cNvSpPr txBox="1"/>
          <p:nvPr/>
        </p:nvSpPr>
        <p:spPr>
          <a:xfrm>
            <a:off x="2460417" y="3795886"/>
            <a:ext cx="71312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No. at risk</a:t>
            </a:r>
            <a:endParaRPr lang="nl-NL" sz="900" dirty="0"/>
          </a:p>
        </p:txBody>
      </p:sp>
      <p:sp>
        <p:nvSpPr>
          <p:cNvPr id="13" name="TextBox 7">
            <a:extLst>
              <a:ext uri="{FF2B5EF4-FFF2-40B4-BE49-F238E27FC236}">
                <a16:creationId xmlns:a16="http://schemas.microsoft.com/office/drawing/2014/main" id="{2C93E840-8299-4651-6693-EB1FB23AD2F3}"/>
              </a:ext>
            </a:extLst>
          </p:cNvPr>
          <p:cNvSpPr txBox="1"/>
          <p:nvPr/>
        </p:nvSpPr>
        <p:spPr>
          <a:xfrm>
            <a:off x="6208345" y="2253521"/>
            <a:ext cx="737739" cy="2385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50" dirty="0">
                <a:solidFill>
                  <a:srgbClr val="3E6AE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.9 %</a:t>
            </a:r>
            <a:endParaRPr lang="cs-CZ" sz="950" dirty="0">
              <a:solidFill>
                <a:srgbClr val="3E6AE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5">
            <a:extLst>
              <a:ext uri="{FF2B5EF4-FFF2-40B4-BE49-F238E27FC236}">
                <a16:creationId xmlns:a16="http://schemas.microsoft.com/office/drawing/2014/main" id="{DC76F3FA-9243-DC00-4D7C-7CA5695E750C}"/>
              </a:ext>
            </a:extLst>
          </p:cNvPr>
          <p:cNvSpPr txBox="1"/>
          <p:nvPr/>
        </p:nvSpPr>
        <p:spPr>
          <a:xfrm>
            <a:off x="6138517" y="1461727"/>
            <a:ext cx="737739" cy="2385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50" dirty="0">
                <a:solidFill>
                  <a:srgbClr val="B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.6 %</a:t>
            </a:r>
            <a:endParaRPr lang="cs-CZ" sz="950" dirty="0">
              <a:solidFill>
                <a:srgbClr val="B2222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8813B64-A05A-239E-2CB8-34F35505E6A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16808" y="337665"/>
            <a:ext cx="978551" cy="58713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32AD314-7AD0-21DC-AA02-430573E98184}"/>
              </a:ext>
            </a:extLst>
          </p:cNvPr>
          <p:cNvSpPr txBox="1"/>
          <p:nvPr/>
        </p:nvSpPr>
        <p:spPr>
          <a:xfrm>
            <a:off x="3275856" y="1182069"/>
            <a:ext cx="648072" cy="4308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38700" indent="0" algn="l" defTabSz="3600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None/>
            </a:pPr>
            <a:r>
              <a:rPr lang="en-US" sz="1000" i="0" kern="1200" dirty="0">
                <a:solidFill>
                  <a:schemeClr val="tx1"/>
                </a:solidFill>
                <a:latin typeface="+mn-lt"/>
                <a:ea typeface="+mn-ea"/>
              </a:rPr>
              <a:t>Surgery</a:t>
            </a:r>
          </a:p>
          <a:p>
            <a:pPr marL="38700" indent="0" algn="l" defTabSz="3600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None/>
            </a:pPr>
            <a:r>
              <a:rPr lang="en-US" sz="1000" i="0" kern="1200" dirty="0">
                <a:solidFill>
                  <a:schemeClr val="tx1"/>
                </a:solidFill>
                <a:latin typeface="+mn-lt"/>
                <a:ea typeface="+mn-ea"/>
              </a:rPr>
              <a:t>TAVI</a:t>
            </a:r>
            <a:endParaRPr lang="nl-NL" sz="1000" i="0" kern="120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1CF8112-441A-38D4-2AE7-A80D01513831}"/>
              </a:ext>
            </a:extLst>
          </p:cNvPr>
          <p:cNvSpPr txBox="1"/>
          <p:nvPr/>
        </p:nvSpPr>
        <p:spPr>
          <a:xfrm>
            <a:off x="2377666" y="4010922"/>
            <a:ext cx="538149" cy="397032"/>
          </a:xfrm>
          <a:prstGeom prst="rect">
            <a:avLst/>
          </a:prstGeom>
          <a:solidFill>
            <a:schemeClr val="bg1"/>
          </a:solidFill>
        </p:spPr>
        <p:txBody>
          <a:bodyPr wrap="square" lIns="36000" rIns="36000" rtlCol="0">
            <a:spAutoFit/>
          </a:bodyPr>
          <a:lstStyle/>
          <a:p>
            <a:pPr marL="38700" indent="0" algn="r" defTabSz="3600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None/>
            </a:pPr>
            <a:r>
              <a:rPr lang="en-US" sz="900" i="0" kern="1200" dirty="0">
                <a:solidFill>
                  <a:srgbClr val="C00000"/>
                </a:solidFill>
                <a:latin typeface="+mn-lt"/>
                <a:ea typeface="+mn-ea"/>
              </a:rPr>
              <a:t>Surgery</a:t>
            </a:r>
          </a:p>
          <a:p>
            <a:pPr marL="38700" indent="0" algn="r" defTabSz="3600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None/>
            </a:pPr>
            <a:r>
              <a:rPr lang="en-US" sz="900" i="0" kern="1200" dirty="0">
                <a:solidFill>
                  <a:srgbClr val="3366CC"/>
                </a:solidFill>
                <a:latin typeface="+mn-lt"/>
                <a:ea typeface="+mn-ea"/>
              </a:rPr>
              <a:t>TAVI</a:t>
            </a:r>
            <a:endParaRPr lang="nl-NL" sz="900" i="0" kern="1200" dirty="0">
              <a:solidFill>
                <a:srgbClr val="3366CC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2970641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  <p:bldP spid="14" grpId="0"/>
      <p:bldP spid="9" grpId="0" animBg="1"/>
      <p:bldP spid="11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0A0D9D56-4A4E-FCB4-1B44-1699813154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64087" y="922208"/>
            <a:ext cx="5824337" cy="388289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E14103F-2C52-85CC-31C1-E3C4391F3D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imary Endpoint at 1 year</a:t>
            </a:r>
            <a:endParaRPr lang="nl-NL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A0D5250-67F8-48C3-4B98-8B358F7BAA4A}"/>
              </a:ext>
            </a:extLst>
          </p:cNvPr>
          <p:cNvGrpSpPr/>
          <p:nvPr/>
        </p:nvGrpSpPr>
        <p:grpSpPr>
          <a:xfrm>
            <a:off x="338313" y="1419622"/>
            <a:ext cx="2225774" cy="715581"/>
            <a:chOff x="1879966" y="4474174"/>
            <a:chExt cx="2967699" cy="954108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D68B2731-406E-C4B0-7A88-1FBC61ABC14F}"/>
                </a:ext>
              </a:extLst>
            </p:cNvPr>
            <p:cNvSpPr txBox="1"/>
            <p:nvPr/>
          </p:nvSpPr>
          <p:spPr>
            <a:xfrm>
              <a:off x="1879966" y="4751173"/>
              <a:ext cx="2967699" cy="4001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50" b="1" dirty="0"/>
                <a:t>NON-INFERIORITY</a:t>
              </a: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B76C183B-8DF3-9274-86FD-73F36B5EE4F3}"/>
                </a:ext>
              </a:extLst>
            </p:cNvPr>
            <p:cNvSpPr txBox="1"/>
            <p:nvPr/>
          </p:nvSpPr>
          <p:spPr>
            <a:xfrm flipH="1">
              <a:off x="3940496" y="4474174"/>
              <a:ext cx="541561" cy="95410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nl-NL" sz="4050" b="1" dirty="0">
                  <a:solidFill>
                    <a:srgbClr val="00B050"/>
                  </a:solidFill>
                  <a:sym typeface="Wingdings" panose="05000000000000000000" pitchFamily="2" charset="2"/>
                </a:rPr>
                <a:t></a:t>
              </a:r>
              <a:endParaRPr lang="nl-NL" sz="4050" b="1" dirty="0">
                <a:solidFill>
                  <a:srgbClr val="00B050"/>
                </a:solidFill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58ADF81-EDC6-B89E-711D-DFFE002DE275}"/>
              </a:ext>
            </a:extLst>
          </p:cNvPr>
          <p:cNvGrpSpPr/>
          <p:nvPr/>
        </p:nvGrpSpPr>
        <p:grpSpPr>
          <a:xfrm>
            <a:off x="338312" y="2067694"/>
            <a:ext cx="1928084" cy="715581"/>
            <a:chOff x="338312" y="2432233"/>
            <a:chExt cx="1928084" cy="715581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06700725-6895-8879-8309-20AE4232D8D2}"/>
                </a:ext>
              </a:extLst>
            </p:cNvPr>
            <p:cNvSpPr txBox="1"/>
            <p:nvPr/>
          </p:nvSpPr>
          <p:spPr>
            <a:xfrm flipH="1">
              <a:off x="1860224" y="2432233"/>
              <a:ext cx="406172" cy="71558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nl-NL" sz="4050" b="1" dirty="0">
                  <a:solidFill>
                    <a:srgbClr val="00B050"/>
                  </a:solidFill>
                  <a:sym typeface="Wingdings" panose="05000000000000000000" pitchFamily="2" charset="2"/>
                </a:rPr>
                <a:t></a:t>
              </a:r>
              <a:endParaRPr lang="nl-NL" sz="4050" b="1" dirty="0">
                <a:solidFill>
                  <a:srgbClr val="00B050"/>
                </a:solidFill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22EB8B3C-209A-5E4F-76C0-7156EBECEB72}"/>
                </a:ext>
              </a:extLst>
            </p:cNvPr>
            <p:cNvSpPr txBox="1"/>
            <p:nvPr/>
          </p:nvSpPr>
          <p:spPr>
            <a:xfrm>
              <a:off x="338312" y="2631708"/>
              <a:ext cx="1462214" cy="3000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50" b="1" dirty="0"/>
                <a:t>SUPERIORITY</a:t>
              </a:r>
              <a:endParaRPr lang="nl-NL" sz="1350" b="1" dirty="0"/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A701957C-EB95-4927-BCDF-B86050F8488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16808" y="337665"/>
            <a:ext cx="978551" cy="587131"/>
          </a:xfrm>
          <a:prstGeom prst="rect">
            <a:avLst/>
          </a:prstGeom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3903374-1232-560B-B603-9C3733A3D5EF}"/>
              </a:ext>
            </a:extLst>
          </p:cNvPr>
          <p:cNvSpPr/>
          <p:nvPr/>
        </p:nvSpPr>
        <p:spPr>
          <a:xfrm>
            <a:off x="3059832" y="1526437"/>
            <a:ext cx="1617406" cy="410116"/>
          </a:xfrm>
          <a:prstGeom prst="roundRect">
            <a:avLst/>
          </a:prstGeom>
          <a:solidFill>
            <a:srgbClr val="D0D0D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 &lt; 0.001</a:t>
            </a:r>
          </a:p>
          <a:p>
            <a:pPr algn="ctr"/>
            <a:r>
              <a:rPr lang="en-US" sz="1200" dirty="0"/>
              <a:t>meets </a:t>
            </a:r>
            <a:r>
              <a:rPr lang="en-US" sz="1200" b="1" dirty="0"/>
              <a:t>non-inferiority</a:t>
            </a:r>
            <a:endParaRPr lang="nl-NL" sz="1200" b="1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F28D96C9-6EB9-8BBA-47FE-7D2C4454EA41}"/>
              </a:ext>
            </a:extLst>
          </p:cNvPr>
          <p:cNvSpPr/>
          <p:nvPr/>
        </p:nvSpPr>
        <p:spPr>
          <a:xfrm>
            <a:off x="2915816" y="2168787"/>
            <a:ext cx="1545398" cy="410116"/>
          </a:xfrm>
          <a:prstGeom prst="roundRect">
            <a:avLst/>
          </a:prstGeom>
          <a:solidFill>
            <a:srgbClr val="D0D0D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P-value = 0.034</a:t>
            </a:r>
          </a:p>
          <a:p>
            <a:pPr algn="ctr"/>
            <a:r>
              <a:rPr lang="en-US" sz="1200" dirty="0"/>
              <a:t>meets </a:t>
            </a:r>
            <a:r>
              <a:rPr lang="en-US" sz="1200" b="1" dirty="0"/>
              <a:t>superiority</a:t>
            </a:r>
            <a:endParaRPr lang="nl-NL" sz="1200" b="1" dirty="0"/>
          </a:p>
        </p:txBody>
      </p:sp>
    </p:spTree>
    <p:extLst>
      <p:ext uri="{BB962C8B-B14F-4D97-AF65-F5344CB8AC3E}">
        <p14:creationId xmlns:p14="http://schemas.microsoft.com/office/powerpoint/2010/main" val="9178976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B25D73-FDC7-63AB-C8EE-B31FB8D4FB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imary Endpoint Components at 1 year</a:t>
            </a:r>
            <a:endParaRPr lang="nl-NL" dirty="0"/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7B40AD03-C4D7-9236-5CAD-32C74247BFE0}"/>
              </a:ext>
            </a:extLst>
          </p:cNvPr>
          <p:cNvGraphicFramePr>
            <a:graphicFrameLocks noGrp="1"/>
          </p:cNvGraphicFramePr>
          <p:nvPr>
            <p:ph idx="4294967295"/>
          </p:nvPr>
        </p:nvGraphicFramePr>
        <p:xfrm>
          <a:off x="447073" y="940015"/>
          <a:ext cx="7221271" cy="34319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4216">
                  <a:extLst>
                    <a:ext uri="{9D8B030D-6E8A-4147-A177-3AD203B41FA5}">
                      <a16:colId xmlns:a16="http://schemas.microsoft.com/office/drawing/2014/main" val="2016099695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val="3111778796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2813665678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1426356282"/>
                    </a:ext>
                  </a:extLst>
                </a:gridCol>
                <a:gridCol w="1028583">
                  <a:extLst>
                    <a:ext uri="{9D8B030D-6E8A-4147-A177-3AD203B41FA5}">
                      <a16:colId xmlns:a16="http://schemas.microsoft.com/office/drawing/2014/main" val="2127403973"/>
                    </a:ext>
                  </a:extLst>
                </a:gridCol>
              </a:tblGrid>
              <a:tr h="385113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b="1" kern="100" dirty="0">
                          <a:solidFill>
                            <a:schemeClr val="tx1"/>
                          </a:solidFill>
                          <a:effectLst/>
                          <a:highlight>
                            <a:srgbClr val="F7CAAC"/>
                          </a:highlight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nl-NL" sz="1400" b="1" kern="100" dirty="0">
                        <a:solidFill>
                          <a:schemeClr val="tx1"/>
                        </a:solidFill>
                        <a:effectLst/>
                        <a:highlight>
                          <a:srgbClr val="F7CAAC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AVI (N=215)</a:t>
                      </a:r>
                      <a:endParaRPr lang="nl-NL" sz="1400" kern="100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urgery (N=205)</a:t>
                      </a:r>
                      <a:endParaRPr lang="nl-NL" sz="1400" kern="100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 anchor="ctr"/>
                </a:tc>
                <a:tc>
                  <a:txBody>
                    <a:bodyPr/>
                    <a:lstStyle/>
                    <a:p>
                      <a:pPr marL="0" marR="63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kern="100" dirty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AVI- Surgery</a:t>
                      </a:r>
                      <a:endParaRPr lang="nl-NL" sz="1400" kern="100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63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l-NL" sz="1400" kern="100" dirty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-Value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36004905"/>
                  </a:ext>
                </a:extLst>
              </a:tr>
              <a:tr h="313970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lang="en-US" sz="1400" b="1" kern="100" spc="-1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eath</a:t>
                      </a:r>
                      <a:endParaRPr lang="nl-NL" sz="1400" b="1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 (0.9%)</a:t>
                      </a:r>
                      <a:endParaRPr lang="nl-NL" sz="1400" b="1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 (2.0%)</a:t>
                      </a:r>
                      <a:endParaRPr lang="nl-NL" sz="1400" b="1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1.0% [-3.3%, 1.3%]</a:t>
                      </a:r>
                      <a:endParaRPr lang="nl-NL" sz="1400" b="1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l-NL" sz="12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</a:t>
                      </a:r>
                      <a:r>
                        <a:rPr lang="cs-CZ" sz="12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4</a:t>
                      </a:r>
                      <a:endParaRPr lang="nl-NL" sz="1200" b="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924931976"/>
                  </a:ext>
                </a:extLst>
              </a:tr>
              <a:tr h="313970">
                <a:tc>
                  <a:txBody>
                    <a:bodyPr/>
                    <a:lstStyle/>
                    <a:p>
                      <a:pPr marL="225425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400" kern="1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ardiac death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kern="1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 (0.5%)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kern="1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 (0.5%)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kern="1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0% [-1.3%, 1.3%]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00</a:t>
                      </a:r>
                      <a:endParaRPr lang="nl-NL" sz="1200" b="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78292015"/>
                  </a:ext>
                </a:extLst>
              </a:tr>
              <a:tr h="313970">
                <a:tc>
                  <a:txBody>
                    <a:bodyPr/>
                    <a:lstStyle/>
                    <a:p>
                      <a:pPr marL="225425">
                        <a:lnSpc>
                          <a:spcPct val="100000"/>
                        </a:lnSpc>
                      </a:pPr>
                      <a:r>
                        <a:rPr lang="en-US" sz="14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on-cardiac death</a:t>
                      </a:r>
                      <a:endParaRPr lang="nl-NL" sz="14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 (0.5%)</a:t>
                      </a:r>
                      <a:endParaRPr lang="nl-NL" sz="14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 (1.5 %)</a:t>
                      </a:r>
                      <a:endParaRPr lang="nl-NL" sz="14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1.0% [-2.9%, 0.9%]</a:t>
                      </a:r>
                      <a:endParaRPr lang="nl-NL" sz="14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</a:t>
                      </a:r>
                      <a:r>
                        <a:rPr lang="cs-CZ" sz="12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6</a:t>
                      </a:r>
                      <a:endParaRPr lang="nl-NL" sz="1200" b="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565026243"/>
                  </a:ext>
                </a:extLst>
              </a:tr>
              <a:tr h="313970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lang="en-US" sz="1400" b="1" kern="100" spc="-1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roke</a:t>
                      </a:r>
                      <a:endParaRPr lang="nl-NL" sz="1400" b="1" kern="100" spc="-1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00" spc="-1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 (3.3%)</a:t>
                      </a:r>
                      <a:endParaRPr lang="nl-NL" sz="1400" b="1" kern="100" spc="-1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00" spc="-1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 (3.0%)</a:t>
                      </a:r>
                      <a:endParaRPr lang="nl-NL" sz="1400" b="1" kern="100" spc="-1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00" spc="-1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3% [-3.0%, 3.7%]</a:t>
                      </a:r>
                      <a:endParaRPr lang="nl-NL" sz="1400" b="1" kern="100" spc="-1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00</a:t>
                      </a:r>
                      <a:endParaRPr lang="nl-NL" sz="1200" b="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796543988"/>
                  </a:ext>
                </a:extLst>
              </a:tr>
              <a:tr h="313970">
                <a:tc>
                  <a:txBody>
                    <a:bodyPr/>
                    <a:lstStyle/>
                    <a:p>
                      <a:pPr marL="212090">
                        <a:lnSpc>
                          <a:spcPct val="100000"/>
                        </a:lnSpc>
                      </a:pPr>
                      <a:r>
                        <a:rPr lang="en-US" sz="14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isabling stroke</a:t>
                      </a:r>
                      <a:endParaRPr lang="nl-NL" sz="14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 (0.9%)</a:t>
                      </a:r>
                      <a:endParaRPr lang="nl-NL" sz="14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 (1.5%)</a:t>
                      </a:r>
                      <a:endParaRPr lang="nl-NL" sz="14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0.6% [-2.7%, 1.6%]</a:t>
                      </a:r>
                      <a:endParaRPr lang="nl-NL" sz="14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l-NL" sz="12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</a:t>
                      </a:r>
                      <a:r>
                        <a:rPr lang="cs-CZ" sz="12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8</a:t>
                      </a:r>
                      <a:endParaRPr lang="nl-NL" sz="1200" b="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610972427"/>
                  </a:ext>
                </a:extLst>
              </a:tr>
              <a:tr h="313970">
                <a:tc>
                  <a:txBody>
                    <a:bodyPr/>
                    <a:lstStyle/>
                    <a:p>
                      <a:pPr marL="225425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400" kern="1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on-disabling stroke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kern="1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 (2.4%)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kern="1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 (1.5%)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kern="1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9% [-1.7%, 3.5%]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</a:t>
                      </a:r>
                      <a:r>
                        <a:rPr lang="cs-CZ" sz="12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2</a:t>
                      </a:r>
                      <a:endParaRPr lang="nl-NL" sz="1200" b="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276064485"/>
                  </a:ext>
                </a:extLst>
              </a:tr>
              <a:tr h="1163000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lang="en-US" sz="1400" b="1" kern="100" spc="-1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Rehospitalization</a:t>
                      </a:r>
                      <a:r>
                        <a:rPr lang="en-US" sz="1400" kern="100" spc="-1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br>
                        <a:rPr lang="en-US" sz="1400" kern="100" spc="-1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GB" sz="14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alve-related or procedure-related or worsening congestive heart failure</a:t>
                      </a:r>
                      <a:endParaRPr lang="nl-NL" sz="14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0 (4.8%)</a:t>
                      </a:r>
                      <a:endParaRPr lang="nl-NL" sz="1400" b="1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3 (11.4%)</a:t>
                      </a:r>
                      <a:endParaRPr lang="nl-NL" sz="1400" b="1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6.6% [-11.9%, -1.4%]</a:t>
                      </a:r>
                      <a:endParaRPr lang="nl-NL" sz="1400" b="1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 b="1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</a:t>
                      </a:r>
                      <a:r>
                        <a:rPr lang="cs-CZ" sz="1200" b="1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2</a:t>
                      </a:r>
                      <a:endParaRPr lang="nl-NL" sz="1200" b="1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78115137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696D9ABA-2B93-7D2F-40B7-299B269DF4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16808" y="337665"/>
            <a:ext cx="978551" cy="587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012102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3571B9-B20B-05EF-DCA6-9A1FEA8847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Secondary Endpoints at 1 year</a:t>
            </a:r>
            <a:endParaRPr lang="nl-NL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1C47900E-BBDE-D942-C9B1-AAA974FE6765}"/>
              </a:ext>
            </a:extLst>
          </p:cNvPr>
          <p:cNvGraphicFramePr>
            <a:graphicFrameLocks noGrp="1"/>
          </p:cNvGraphicFramePr>
          <p:nvPr>
            <p:ph idx="4294967295"/>
          </p:nvPr>
        </p:nvGraphicFramePr>
        <p:xfrm>
          <a:off x="432000" y="994029"/>
          <a:ext cx="7920881" cy="36659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03896">
                  <a:extLst>
                    <a:ext uri="{9D8B030D-6E8A-4147-A177-3AD203B41FA5}">
                      <a16:colId xmlns:a16="http://schemas.microsoft.com/office/drawing/2014/main" val="310980578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val="4030583724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31204417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3528935546"/>
                    </a:ext>
                  </a:extLst>
                </a:gridCol>
                <a:gridCol w="900561">
                  <a:extLst>
                    <a:ext uri="{9D8B030D-6E8A-4147-A177-3AD203B41FA5}">
                      <a16:colId xmlns:a16="http://schemas.microsoft.com/office/drawing/2014/main" val="1089305124"/>
                    </a:ext>
                  </a:extLst>
                </a:gridCol>
              </a:tblGrid>
              <a:tr h="36297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200" b="1" kern="100" dirty="0">
                          <a:solidFill>
                            <a:schemeClr val="tx1"/>
                          </a:solidFill>
                          <a:effectLst/>
                          <a:highlight>
                            <a:srgbClr val="F7CAAC"/>
                          </a:highlight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nl-NL" sz="1200" b="1" kern="100" dirty="0">
                        <a:solidFill>
                          <a:schemeClr val="tx1"/>
                        </a:solidFill>
                        <a:effectLst/>
                        <a:highlight>
                          <a:srgbClr val="F7CAAC"/>
                        </a:highlight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6794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200" b="1" kern="1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AVI (N=215)</a:t>
                      </a:r>
                      <a:endParaRPr lang="nl-NL" sz="1200" b="1" kern="1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 anchor="ctr"/>
                </a:tc>
                <a:tc>
                  <a:txBody>
                    <a:bodyPr/>
                    <a:lstStyle/>
                    <a:p>
                      <a:pPr marL="6794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200" b="1" kern="1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urgery (N=205)</a:t>
                      </a:r>
                      <a:endParaRPr lang="nl-NL" sz="1200" b="1" kern="1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 anchor="ctr"/>
                </a:tc>
                <a:tc>
                  <a:txBody>
                    <a:bodyPr/>
                    <a:lstStyle/>
                    <a:p>
                      <a:pPr marL="67945" marR="63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1" kern="1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AVI - Surgery</a:t>
                      </a:r>
                      <a:endParaRPr lang="nl-NL" sz="1200" b="1" kern="1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63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l-NL" sz="1200" kern="1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-Value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72581881"/>
                  </a:ext>
                </a:extLst>
              </a:tr>
              <a:tr h="253861">
                <a:tc>
                  <a:txBody>
                    <a:bodyPr/>
                    <a:lstStyle/>
                    <a:p>
                      <a:pPr marL="67945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ajor vascular complications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63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 (3.3%)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63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 (0.5%)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63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8% [0.2%, 5.3%]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l-NL" sz="12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</a:t>
                      </a:r>
                      <a:r>
                        <a:rPr lang="cs-CZ" sz="12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7</a:t>
                      </a:r>
                      <a:endParaRPr lang="nl-NL" sz="1200" b="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777370580"/>
                  </a:ext>
                </a:extLst>
              </a:tr>
              <a:tr h="253861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fe-threatening</a:t>
                      </a:r>
                      <a:r>
                        <a:rPr lang="en-US" sz="1200" b="0" kern="100" spc="-6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/</a:t>
                      </a:r>
                      <a:r>
                        <a:rPr lang="en-US" sz="1200" b="0" kern="100" spc="-55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isabling </a:t>
                      </a:r>
                      <a:r>
                        <a:rPr lang="en-US" sz="1200" b="0" kern="100" spc="-1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bleeding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 (4.2%)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 (4.4%)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0.2% [-4.1, 3.7]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00</a:t>
                      </a:r>
                      <a:endParaRPr lang="nl-NL" sz="1200" b="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075459924"/>
                  </a:ext>
                </a:extLst>
              </a:tr>
              <a:tr h="253861">
                <a:tc>
                  <a:txBody>
                    <a:bodyPr/>
                    <a:lstStyle/>
                    <a:p>
                      <a:pPr marL="67945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fe-threatening / disabling, or major bleeding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63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 (6.0%)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63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2 (10.7%)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63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4.7% [-10.0, 0.6]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</a:t>
                      </a:r>
                      <a:r>
                        <a:rPr lang="cs-CZ" sz="12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</a:t>
                      </a:r>
                      <a:endParaRPr lang="nl-NL" sz="1200" b="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254418164"/>
                  </a:ext>
                </a:extLst>
              </a:tr>
              <a:tr h="253861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yocardial</a:t>
                      </a:r>
                      <a:r>
                        <a:rPr lang="en-US" sz="1200" b="0" kern="100" spc="-25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200" b="0" kern="100" spc="-1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farction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 (0.0%)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 (1.0%)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1.0% [-2.3%, 0.4%]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</a:t>
                      </a:r>
                      <a:r>
                        <a:rPr lang="cs-CZ" sz="12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</a:t>
                      </a:r>
                      <a:endParaRPr lang="nl-NL" sz="1200" b="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847181489"/>
                  </a:ext>
                </a:extLst>
              </a:tr>
              <a:tr h="253861">
                <a:tc>
                  <a:txBody>
                    <a:bodyPr/>
                    <a:lstStyle/>
                    <a:p>
                      <a:pPr marL="67945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cute kidney injury Stage II or III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63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 (0.9%)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63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 (2.9%)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63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2.0% [-4.6%, 0.6%]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l-NL" sz="12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</a:t>
                      </a:r>
                      <a:r>
                        <a:rPr lang="cs-CZ" sz="12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</a:t>
                      </a:r>
                      <a:endParaRPr lang="nl-NL" sz="1200" b="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253810352"/>
                  </a:ext>
                </a:extLst>
              </a:tr>
              <a:tr h="253861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w</a:t>
                      </a:r>
                      <a:r>
                        <a:rPr lang="en-US" sz="1200" b="0" kern="100" spc="-25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manent</a:t>
                      </a:r>
                      <a:r>
                        <a:rPr lang="en-US" sz="1200" b="0" kern="100" spc="-2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200" b="0" kern="100" spc="-1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cemaker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9 (8.8%)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 (2.9%)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.9% [1.5%, 10.4%]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 b="1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</a:t>
                      </a:r>
                      <a:r>
                        <a:rPr lang="cs-CZ" sz="1200" b="1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1</a:t>
                      </a:r>
                      <a:endParaRPr lang="nl-NL" sz="1200" b="1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204401174"/>
                  </a:ext>
                </a:extLst>
              </a:tr>
              <a:tr h="253861">
                <a:tc>
                  <a:txBody>
                    <a:bodyPr/>
                    <a:lstStyle/>
                    <a:p>
                      <a:pPr marL="67945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w onset atrial fibrillation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127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 (3.3%)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127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9 (28.8%)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127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25.5% [-32.2%, -18.9%]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&lt;</a:t>
                      </a:r>
                      <a:r>
                        <a:rPr lang="nl-NL" sz="1200" b="1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</a:t>
                      </a:r>
                      <a:r>
                        <a:rPr lang="cs-CZ" sz="1200" b="1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01</a:t>
                      </a:r>
                      <a:endParaRPr lang="nl-NL" sz="1200" b="1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62250295"/>
                  </a:ext>
                </a:extLst>
              </a:tr>
              <a:tr h="253861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lang="en-US" sz="1200" b="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YHA</a:t>
                      </a:r>
                      <a:r>
                        <a:rPr lang="en-US" sz="1200" b="0" kern="100" spc="-15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200" b="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lass</a:t>
                      </a:r>
                      <a:r>
                        <a:rPr lang="en-US" sz="1200" b="0" kern="100" spc="-1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II/III/IV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127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83 (38.6%)</a:t>
                      </a:r>
                      <a:endParaRPr lang="nl-NL" sz="1200" b="0" kern="1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127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2 (44.9%)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127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6.3% [-15.7%, 3.1%]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12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</a:t>
                      </a:r>
                      <a:r>
                        <a:rPr lang="cs-CZ" sz="12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</a:t>
                      </a:r>
                      <a:endParaRPr lang="nl-NL" sz="1200" b="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896566181"/>
                  </a:ext>
                </a:extLst>
              </a:tr>
              <a:tr h="253861">
                <a:tc>
                  <a:txBody>
                    <a:bodyPr/>
                    <a:lstStyle/>
                    <a:p>
                      <a:pPr marL="67945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m walk test (sec) change from baseline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127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1.1 ± 4.5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127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0.9 ± 4.6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127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0.17 [-1.16, 0.82]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12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</a:t>
                      </a:r>
                      <a:r>
                        <a:rPr lang="cs-CZ" sz="12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8</a:t>
                      </a:r>
                      <a:endParaRPr lang="nl-NL" sz="1200" b="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1993839"/>
                  </a:ext>
                </a:extLst>
              </a:tr>
              <a:tr h="253861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lang="en-US" sz="1200" b="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CCQ-OS</a:t>
                      </a:r>
                      <a:r>
                        <a:rPr lang="en-US" sz="1200" b="0" kern="100" spc="-6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200" b="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core</a:t>
                      </a:r>
                      <a:r>
                        <a:rPr lang="en-US" sz="1200" b="0" kern="100" spc="-55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200" b="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hange</a:t>
                      </a:r>
                      <a:r>
                        <a:rPr lang="en-US" sz="1200" b="0" kern="100" spc="-55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200" b="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rom </a:t>
                      </a:r>
                      <a:r>
                        <a:rPr lang="en-US" sz="1200" b="0" kern="100" spc="-1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baseline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127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.7 ± 1.1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127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8.2 </a:t>
                      </a: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± 1.2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127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5 [-0.7, 5.7]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12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 b="0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13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83711669"/>
                  </a:ext>
                </a:extLst>
              </a:tr>
              <a:tr h="253861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alve Reintervention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127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 (0.9%)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127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127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9% [-0.4, 1.4%]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12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50</a:t>
                      </a:r>
                      <a:endParaRPr lang="nl-NL" sz="1200" b="0" kern="1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785147297"/>
                  </a:ext>
                </a:extLst>
              </a:tr>
              <a:tr h="253861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alve thrombosis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127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 (0.5%)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127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127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5% [-0.4%, 1.4%]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12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00</a:t>
                      </a:r>
                      <a:endParaRPr lang="nl-NL" sz="1200" b="0" kern="1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970450292"/>
                  </a:ext>
                </a:extLst>
              </a:tr>
              <a:tr h="253861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alve dysfunction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127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 (0.5%)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127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127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5% [-0.4%, 1.4%]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12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00</a:t>
                      </a:r>
                      <a:endParaRPr lang="nl-NL" sz="1200" b="0" kern="1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23641536"/>
                  </a:ext>
                </a:extLst>
              </a:tr>
            </a:tbl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C9FDB5A6-3CF6-6DD7-AAAD-5ADE0BF40A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6808" y="337665"/>
            <a:ext cx="978551" cy="587131"/>
          </a:xfrm>
          <a:prstGeom prst="rect">
            <a:avLst/>
          </a:prstGeom>
        </p:spPr>
      </p:pic>
      <p:graphicFrame>
        <p:nvGraphicFramePr>
          <p:cNvPr id="5" name="Content Placeholder 3">
            <a:extLst>
              <a:ext uri="{FF2B5EF4-FFF2-40B4-BE49-F238E27FC236}">
                <a16:creationId xmlns:a16="http://schemas.microsoft.com/office/drawing/2014/main" id="{75567DE4-0EC2-759C-B60A-F4A3F27267FB}"/>
              </a:ext>
            </a:extLst>
          </p:cNvPr>
          <p:cNvGraphicFramePr>
            <a:graphicFrameLocks/>
          </p:cNvGraphicFramePr>
          <p:nvPr/>
        </p:nvGraphicFramePr>
        <p:xfrm>
          <a:off x="432000" y="994029"/>
          <a:ext cx="7920881" cy="36659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03896">
                  <a:extLst>
                    <a:ext uri="{9D8B030D-6E8A-4147-A177-3AD203B41FA5}">
                      <a16:colId xmlns:a16="http://schemas.microsoft.com/office/drawing/2014/main" val="310980578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val="4030583724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31204417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3528935546"/>
                    </a:ext>
                  </a:extLst>
                </a:gridCol>
                <a:gridCol w="900561">
                  <a:extLst>
                    <a:ext uri="{9D8B030D-6E8A-4147-A177-3AD203B41FA5}">
                      <a16:colId xmlns:a16="http://schemas.microsoft.com/office/drawing/2014/main" val="1089305124"/>
                    </a:ext>
                  </a:extLst>
                </a:gridCol>
              </a:tblGrid>
              <a:tr h="36297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200" b="1" kern="100" dirty="0">
                          <a:solidFill>
                            <a:schemeClr val="tx1"/>
                          </a:solidFill>
                          <a:effectLst/>
                          <a:highlight>
                            <a:srgbClr val="F7CAAC"/>
                          </a:highlight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nl-NL" sz="1200" b="1" kern="100" dirty="0">
                        <a:solidFill>
                          <a:schemeClr val="tx1"/>
                        </a:solidFill>
                        <a:effectLst/>
                        <a:highlight>
                          <a:srgbClr val="F7CAAC"/>
                        </a:highlight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6794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200" b="1" kern="1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AVI (N=215)</a:t>
                      </a:r>
                      <a:endParaRPr lang="nl-NL" sz="1200" b="1" kern="1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 anchor="ctr"/>
                </a:tc>
                <a:tc>
                  <a:txBody>
                    <a:bodyPr/>
                    <a:lstStyle/>
                    <a:p>
                      <a:pPr marL="6794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200" b="1" kern="1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urgery (N=205)</a:t>
                      </a:r>
                      <a:endParaRPr lang="nl-NL" sz="1200" b="1" kern="1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 anchor="ctr"/>
                </a:tc>
                <a:tc>
                  <a:txBody>
                    <a:bodyPr/>
                    <a:lstStyle/>
                    <a:p>
                      <a:pPr marL="67945" marR="63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1" kern="1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AVI - Surgery</a:t>
                      </a:r>
                      <a:endParaRPr lang="nl-NL" sz="1200" b="1" kern="1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63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l-NL" sz="1200" kern="1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-Value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72581881"/>
                  </a:ext>
                </a:extLst>
              </a:tr>
              <a:tr h="253861">
                <a:tc>
                  <a:txBody>
                    <a:bodyPr/>
                    <a:lstStyle/>
                    <a:p>
                      <a:pPr marL="67945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ajor vascular complications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63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 (3.3%)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63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 (0.5%)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63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8% [0.2%, 5.3%]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l-NL" sz="12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</a:t>
                      </a:r>
                      <a:r>
                        <a:rPr lang="cs-CZ" sz="12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7</a:t>
                      </a:r>
                      <a:endParaRPr lang="nl-NL" sz="1200" b="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777370580"/>
                  </a:ext>
                </a:extLst>
              </a:tr>
              <a:tr h="253861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fe-threatening</a:t>
                      </a:r>
                      <a:r>
                        <a:rPr lang="en-US" sz="1200" b="0" kern="100" spc="-6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/</a:t>
                      </a:r>
                      <a:r>
                        <a:rPr lang="en-US" sz="1200" b="0" kern="100" spc="-55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isabling </a:t>
                      </a:r>
                      <a:r>
                        <a:rPr lang="en-US" sz="1200" b="0" kern="100" spc="-1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bleeding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 (4.2%)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 (4.4%)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0.2% [-4.1, 3.7]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00</a:t>
                      </a:r>
                      <a:endParaRPr lang="nl-NL" sz="1200" b="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075459924"/>
                  </a:ext>
                </a:extLst>
              </a:tr>
              <a:tr h="253861">
                <a:tc>
                  <a:txBody>
                    <a:bodyPr/>
                    <a:lstStyle/>
                    <a:p>
                      <a:pPr marL="67945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fe-threatening / disabling, or major bleeding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63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 (6.0%)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63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2 (10.7%)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63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4.7% [-10.0, 0.6]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</a:t>
                      </a:r>
                      <a:r>
                        <a:rPr lang="cs-CZ" sz="12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</a:t>
                      </a:r>
                      <a:endParaRPr lang="nl-NL" sz="1200" b="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254418164"/>
                  </a:ext>
                </a:extLst>
              </a:tr>
              <a:tr h="253861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yocardial</a:t>
                      </a:r>
                      <a:r>
                        <a:rPr lang="en-US" sz="1200" b="0" kern="100" spc="-25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200" b="0" kern="100" spc="-1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farction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 (0.0%)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 (1.0%)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1.0% [-2.3%, 0.4%]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</a:t>
                      </a:r>
                      <a:r>
                        <a:rPr lang="cs-CZ" sz="12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</a:t>
                      </a:r>
                      <a:endParaRPr lang="nl-NL" sz="1200" b="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847181489"/>
                  </a:ext>
                </a:extLst>
              </a:tr>
              <a:tr h="253861">
                <a:tc>
                  <a:txBody>
                    <a:bodyPr/>
                    <a:lstStyle/>
                    <a:p>
                      <a:pPr marL="67945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cute kidney injury Stage II or III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63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 (0.9%)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63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 (2.9%)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63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2.0% [-4.6%, 0.6%]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l-NL" sz="12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</a:t>
                      </a:r>
                      <a:r>
                        <a:rPr lang="cs-CZ" sz="12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</a:t>
                      </a:r>
                      <a:endParaRPr lang="nl-NL" sz="1200" b="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253810352"/>
                  </a:ext>
                </a:extLst>
              </a:tr>
              <a:tr h="253861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w</a:t>
                      </a:r>
                      <a:r>
                        <a:rPr lang="en-US" sz="1200" b="0" kern="100" spc="-25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manent</a:t>
                      </a:r>
                      <a:r>
                        <a:rPr lang="en-US" sz="1200" b="0" kern="100" spc="-2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200" b="0" kern="100" spc="-1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cemaker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9 (8.8%)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 (2.9%)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.9% [1.5%, 10.4%]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620" marR="635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 b="1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</a:t>
                      </a:r>
                      <a:r>
                        <a:rPr lang="cs-CZ" sz="1200" b="1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1</a:t>
                      </a:r>
                      <a:endParaRPr lang="nl-NL" sz="1200" b="1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4401174"/>
                  </a:ext>
                </a:extLst>
              </a:tr>
              <a:tr h="253861">
                <a:tc>
                  <a:txBody>
                    <a:bodyPr/>
                    <a:lstStyle/>
                    <a:p>
                      <a:pPr marL="67945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w onset atrial fibrillation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7945" marR="127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 (3.3%)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7945" marR="127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9 (28.8%)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7945" marR="127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25.5% [-32.2%, -18.9%]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620" marR="635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&lt;</a:t>
                      </a:r>
                      <a:r>
                        <a:rPr lang="nl-NL" sz="1200" b="1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</a:t>
                      </a:r>
                      <a:r>
                        <a:rPr lang="cs-CZ" sz="1200" b="1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01</a:t>
                      </a:r>
                      <a:endParaRPr lang="nl-NL" sz="1200" b="1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250295"/>
                  </a:ext>
                </a:extLst>
              </a:tr>
              <a:tr h="253861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lang="en-US" sz="1200" b="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YHA</a:t>
                      </a:r>
                      <a:r>
                        <a:rPr lang="en-US" sz="1200" b="0" kern="100" spc="-15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200" b="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lass</a:t>
                      </a:r>
                      <a:r>
                        <a:rPr lang="en-US" sz="1200" b="0" kern="100" spc="-1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II/III/IV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127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83 (38.6%)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127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2 (44.9%)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127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6.3% [-15.7%, 3.1%]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12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</a:t>
                      </a:r>
                      <a:r>
                        <a:rPr lang="cs-CZ" sz="12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</a:t>
                      </a:r>
                      <a:endParaRPr lang="nl-NL" sz="1200" b="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896566181"/>
                  </a:ext>
                </a:extLst>
              </a:tr>
              <a:tr h="253861">
                <a:tc>
                  <a:txBody>
                    <a:bodyPr/>
                    <a:lstStyle/>
                    <a:p>
                      <a:pPr marL="67945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m walk test (sec) change from baseline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127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1.1 ± 4.5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127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0.9 ± 4.6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127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0.17 [-1.16, 0.82]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12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</a:t>
                      </a:r>
                      <a:r>
                        <a:rPr lang="cs-CZ" sz="12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8</a:t>
                      </a:r>
                      <a:endParaRPr lang="nl-NL" sz="1200" b="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1993839"/>
                  </a:ext>
                </a:extLst>
              </a:tr>
              <a:tr h="253861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lang="en-US" sz="1200" b="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CCQ-OS</a:t>
                      </a:r>
                      <a:r>
                        <a:rPr lang="en-US" sz="1200" b="0" kern="100" spc="-6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200" b="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core</a:t>
                      </a:r>
                      <a:r>
                        <a:rPr lang="en-US" sz="1200" b="0" kern="100" spc="-55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200" b="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hange</a:t>
                      </a:r>
                      <a:r>
                        <a:rPr lang="en-US" sz="1200" b="0" kern="100" spc="-55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200" b="0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rom </a:t>
                      </a:r>
                      <a:r>
                        <a:rPr lang="en-US" sz="1200" b="0" kern="100" spc="-1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baseline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127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.7 ± 1.1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127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8.2 </a:t>
                      </a: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± 1.2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127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5 [-0.7, 5.7]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12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 b="0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13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83711669"/>
                  </a:ext>
                </a:extLst>
              </a:tr>
              <a:tr h="253861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alve Reintervention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127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 (0.9%)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127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127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9% [-0.4, 1.4%]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12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50</a:t>
                      </a:r>
                      <a:endParaRPr lang="nl-NL" sz="1200" b="0" kern="1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785147297"/>
                  </a:ext>
                </a:extLst>
              </a:tr>
              <a:tr h="253861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alve thrombosis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127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 (0.5%)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127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127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5% [-0.4%, 1.4%]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12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00</a:t>
                      </a:r>
                      <a:endParaRPr lang="nl-NL" sz="1200" b="0" kern="1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970450292"/>
                  </a:ext>
                </a:extLst>
              </a:tr>
              <a:tr h="253861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alve dysfunction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127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 (0.5%)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127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127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5% [-0.4%, 1.4%]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12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00</a:t>
                      </a:r>
                      <a:endParaRPr lang="nl-NL" sz="1200" b="0" kern="1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236415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820973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240870-E3A8-8021-E801-E00969B84B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chocardiography</a:t>
            </a:r>
            <a:r>
              <a:rPr lang="en-US" sz="3200" dirty="0"/>
              <a:t> findings</a:t>
            </a:r>
            <a:endParaRPr lang="nl-NL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35B6FB-4744-077D-4296-C456BFF7F8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 defTabSz="685800">
              <a:defRPr/>
            </a:pPr>
            <a:fld id="{CDBA9528-BCFE-1E43-A37D-912FF3C527A6}" type="slidenum">
              <a:rPr lang="en-US" sz="700">
                <a:solidFill>
                  <a:srgbClr val="505759"/>
                </a:solidFill>
                <a:latin typeface="Arial"/>
              </a:rPr>
              <a:pPr algn="r" defTabSz="685800">
                <a:defRPr/>
              </a:pPr>
              <a:t>34</a:t>
            </a:fld>
            <a:endParaRPr lang="en-US" sz="700">
              <a:solidFill>
                <a:srgbClr val="505759"/>
              </a:solidFill>
              <a:latin typeface="Arial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2B33545F-9D21-D306-BE95-2FA964DC00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6808" y="337665"/>
            <a:ext cx="978551" cy="587131"/>
          </a:xfrm>
          <a:prstGeom prst="rect">
            <a:avLst/>
          </a:prstGeom>
        </p:spPr>
      </p:pic>
      <p:grpSp>
        <p:nvGrpSpPr>
          <p:cNvPr id="34" name="Group 33">
            <a:extLst>
              <a:ext uri="{FF2B5EF4-FFF2-40B4-BE49-F238E27FC236}">
                <a16:creationId xmlns:a16="http://schemas.microsoft.com/office/drawing/2014/main" id="{3F73AE25-4912-0592-C466-34149A016839}"/>
              </a:ext>
            </a:extLst>
          </p:cNvPr>
          <p:cNvGrpSpPr/>
          <p:nvPr/>
        </p:nvGrpSpPr>
        <p:grpSpPr>
          <a:xfrm>
            <a:off x="396008" y="967665"/>
            <a:ext cx="3527920" cy="3667864"/>
            <a:chOff x="324000" y="967665"/>
            <a:chExt cx="3527920" cy="3667864"/>
          </a:xfrm>
        </p:grpSpPr>
        <p:pic>
          <p:nvPicPr>
            <p:cNvPr id="5" name="Obrázek 2">
              <a:extLst>
                <a:ext uri="{FF2B5EF4-FFF2-40B4-BE49-F238E27FC236}">
                  <a16:creationId xmlns:a16="http://schemas.microsoft.com/office/drawing/2014/main" id="{B69FDB9E-4E3C-C479-4191-A95909D1B82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59"/>
            <a:stretch/>
          </p:blipFill>
          <p:spPr>
            <a:xfrm>
              <a:off x="433866" y="1377257"/>
              <a:ext cx="3190982" cy="3258272"/>
            </a:xfrm>
            <a:prstGeom prst="rect">
              <a:avLst/>
            </a:prstGeom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1" name="Title 2">
              <a:extLst>
                <a:ext uri="{FF2B5EF4-FFF2-40B4-BE49-F238E27FC236}">
                  <a16:creationId xmlns:a16="http://schemas.microsoft.com/office/drawing/2014/main" id="{D2F2591A-EB96-4A75-B4A6-510B5F4194A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24000" y="967665"/>
              <a:ext cx="3527920" cy="409592"/>
            </a:xfrm>
            <a:prstGeom prst="rect">
              <a:avLst/>
            </a:prstGeom>
          </p:spPr>
          <p:txBody>
            <a:bodyPr vert="horz" lIns="36000" tIns="45720" rIns="36000" bIns="45720" rtlCol="0">
              <a:noAutofit/>
            </a:bodyPr>
            <a:lstStyle>
              <a:lvl1pPr algn="l" defTabSz="914400" rtl="0" eaLnBrk="1" latinLnBrk="0" hangingPunct="1">
                <a:spcBef>
                  <a:spcPct val="0"/>
                </a:spcBef>
                <a:buNone/>
                <a:defRPr lang="en-US" sz="2800" b="1" i="0" kern="1200" smtClean="0">
                  <a:solidFill>
                    <a:schemeClr val="accent1"/>
                  </a:solidFill>
                  <a:latin typeface="+mj-lt"/>
                  <a:ea typeface="+mn-ea"/>
                  <a:cs typeface="Verdana"/>
                </a:defRPr>
              </a:lvl1pPr>
            </a:lstStyle>
            <a:p>
              <a:pPr algn="ctr"/>
              <a:r>
                <a:rPr lang="nl-NL" sz="1800" b="0" dirty="0">
                  <a:solidFill>
                    <a:schemeClr val="tx1"/>
                  </a:solidFill>
                </a:rPr>
                <a:t>Patient-Prosthesis Mismatch 30 Days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39ACC9AA-505D-FB68-5EC2-B9C14A207465}"/>
                </a:ext>
              </a:extLst>
            </p:cNvPr>
            <p:cNvSpPr txBox="1"/>
            <p:nvPr/>
          </p:nvSpPr>
          <p:spPr>
            <a:xfrm>
              <a:off x="1187624" y="4371950"/>
              <a:ext cx="485835" cy="20948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38700" indent="0" algn="l" defTabSz="360000" rtl="0" eaLnBrk="1" latinLnBrk="0" hangingPunct="1">
                <a:spcBef>
                  <a:spcPct val="20000"/>
                </a:spcBef>
                <a:buClr>
                  <a:srgbClr val="C00000"/>
                </a:buClr>
                <a:buFont typeface="Arial" panose="020B0604020202020204" pitchFamily="34" charset="0"/>
                <a:buNone/>
              </a:pPr>
              <a:endParaRPr lang="nl-NL" sz="1600" b="1" i="0" kern="120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D658637-8264-27C2-AB21-2FDAD20F23C8}"/>
                </a:ext>
              </a:extLst>
            </p:cNvPr>
            <p:cNvSpPr txBox="1"/>
            <p:nvPr/>
          </p:nvSpPr>
          <p:spPr>
            <a:xfrm>
              <a:off x="1259632" y="3996000"/>
              <a:ext cx="540827" cy="282573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36000" tIns="0" rIns="36000" bIns="36000" rtlCol="0">
              <a:spAutoFit/>
            </a:bodyPr>
            <a:lstStyle/>
            <a:p>
              <a:pPr indent="0" algn="ctr" defTabSz="360000" rtl="0" eaLnBrk="1" latinLnBrk="0" hangingPunct="1">
                <a:buClr>
                  <a:srgbClr val="C00000"/>
                </a:buClr>
                <a:buFont typeface="Arial" panose="020B0604020202020204" pitchFamily="34" charset="0"/>
                <a:buNone/>
              </a:pPr>
              <a:r>
                <a:rPr lang="en-US" sz="800" dirty="0"/>
                <a:t>TAVI</a:t>
              </a:r>
            </a:p>
            <a:p>
              <a:pPr indent="0" algn="ctr" defTabSz="360000" rtl="0" eaLnBrk="1" latinLnBrk="0" hangingPunct="1">
                <a:buClr>
                  <a:srgbClr val="C00000"/>
                </a:buClr>
                <a:buFont typeface="Arial" panose="020B0604020202020204" pitchFamily="34" charset="0"/>
                <a:buNone/>
              </a:pPr>
              <a:r>
                <a:rPr lang="en-US" sz="800" dirty="0"/>
                <a:t>(N=167)</a:t>
              </a:r>
              <a:endParaRPr lang="nl-NL" sz="800" i="0" kern="120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5DE9124-8BA6-4A84-843B-ED6E2BB991EB}"/>
                </a:ext>
              </a:extLst>
            </p:cNvPr>
            <p:cNvSpPr txBox="1"/>
            <p:nvPr/>
          </p:nvSpPr>
          <p:spPr>
            <a:xfrm>
              <a:off x="2555776" y="3996000"/>
              <a:ext cx="540827" cy="282573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36000" tIns="0" rIns="36000" bIns="36000" rtlCol="0">
              <a:spAutoFit/>
            </a:bodyPr>
            <a:lstStyle/>
            <a:p>
              <a:pPr indent="0" algn="ctr" defTabSz="360000" rtl="0" eaLnBrk="1" latinLnBrk="0" hangingPunct="1">
                <a:buClr>
                  <a:srgbClr val="C00000"/>
                </a:buClr>
                <a:buFont typeface="Arial" panose="020B0604020202020204" pitchFamily="34" charset="0"/>
                <a:buNone/>
              </a:pPr>
              <a:r>
                <a:rPr lang="en-US" sz="800" dirty="0"/>
                <a:t>Surgery</a:t>
              </a:r>
            </a:p>
            <a:p>
              <a:pPr indent="0" algn="ctr" defTabSz="360000" rtl="0" eaLnBrk="1" latinLnBrk="0" hangingPunct="1">
                <a:buClr>
                  <a:srgbClr val="C00000"/>
                </a:buClr>
                <a:buFont typeface="Arial" panose="020B0604020202020204" pitchFamily="34" charset="0"/>
                <a:buNone/>
              </a:pPr>
              <a:r>
                <a:rPr lang="en-US" sz="800" dirty="0"/>
                <a:t>(N=156)</a:t>
              </a:r>
              <a:endParaRPr lang="nl-NL" sz="800" i="0" kern="120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E6DE0237-6469-7C19-12CF-518F41C25528}"/>
              </a:ext>
            </a:extLst>
          </p:cNvPr>
          <p:cNvGrpSpPr/>
          <p:nvPr/>
        </p:nvGrpSpPr>
        <p:grpSpPr>
          <a:xfrm>
            <a:off x="4211960" y="962230"/>
            <a:ext cx="4410809" cy="3673300"/>
            <a:chOff x="4049623" y="962230"/>
            <a:chExt cx="4410809" cy="3673300"/>
          </a:xfrm>
        </p:grpSpPr>
        <p:sp>
          <p:nvSpPr>
            <p:cNvPr id="8" name="Title 2">
              <a:extLst>
                <a:ext uri="{FF2B5EF4-FFF2-40B4-BE49-F238E27FC236}">
                  <a16:creationId xmlns:a16="http://schemas.microsoft.com/office/drawing/2014/main" id="{822C15C5-0C79-416F-3BC3-CE1DBE07B97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049623" y="962230"/>
              <a:ext cx="4334768" cy="409592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algn="l" defTabSz="914400" rtl="0" eaLnBrk="1" latinLnBrk="0" hangingPunct="1">
                <a:spcBef>
                  <a:spcPct val="0"/>
                </a:spcBef>
                <a:buNone/>
                <a:defRPr lang="en-US" sz="2800" b="1" i="0" kern="1200" smtClean="0">
                  <a:solidFill>
                    <a:schemeClr val="accent1"/>
                  </a:solidFill>
                  <a:latin typeface="+mj-lt"/>
                  <a:ea typeface="+mn-ea"/>
                  <a:cs typeface="Verdana"/>
                </a:defRPr>
              </a:lvl1pPr>
            </a:lstStyle>
            <a:p>
              <a:pPr algn="ctr"/>
              <a:r>
                <a:rPr lang="nl-NL" sz="1800" b="0" dirty="0">
                  <a:solidFill>
                    <a:schemeClr val="tx1"/>
                  </a:solidFill>
                </a:rPr>
                <a:t>Paravalvular Aortic Regurgitation</a:t>
              </a:r>
            </a:p>
          </p:txBody>
        </p:sp>
        <p:pic>
          <p:nvPicPr>
            <p:cNvPr id="6" name="Grafik 5"/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981" b="968"/>
            <a:stretch/>
          </p:blipFill>
          <p:spPr>
            <a:xfrm>
              <a:off x="4067944" y="1374915"/>
              <a:ext cx="4316447" cy="3260615"/>
            </a:xfrm>
            <a:prstGeom prst="rect">
              <a:avLst/>
            </a:prstGeom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7" name="Textfeld 6"/>
            <p:cNvSpPr txBox="1"/>
            <p:nvPr/>
          </p:nvSpPr>
          <p:spPr>
            <a:xfrm>
              <a:off x="4716016" y="2542497"/>
              <a:ext cx="48518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8700" indent="0" algn="ctr" defTabSz="360000" rtl="0" eaLnBrk="1" latinLnBrk="0" hangingPunct="1">
                <a:spcBef>
                  <a:spcPct val="20000"/>
                </a:spcBef>
                <a:buClr>
                  <a:srgbClr val="C00000"/>
                </a:buClr>
                <a:buFont typeface="Arial" panose="020B0604020202020204" pitchFamily="34" charset="0"/>
                <a:buNone/>
              </a:pPr>
              <a:r>
                <a:rPr lang="de-DE" sz="800" i="0" kern="1200" dirty="0">
                  <a:solidFill>
                    <a:schemeClr val="tx1"/>
                  </a:solidFill>
                  <a:latin typeface="+mn-lt"/>
                  <a:ea typeface="+mn-ea"/>
                </a:rPr>
                <a:t>84.9%</a:t>
              </a:r>
            </a:p>
          </p:txBody>
        </p:sp>
        <p:sp>
          <p:nvSpPr>
            <p:cNvPr id="9" name="Textfeld 8"/>
            <p:cNvSpPr txBox="1"/>
            <p:nvPr/>
          </p:nvSpPr>
          <p:spPr>
            <a:xfrm>
              <a:off x="5672821" y="2439925"/>
              <a:ext cx="553526" cy="2094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8700" indent="0" algn="l" defTabSz="360000" rtl="0" eaLnBrk="1" latinLnBrk="0" hangingPunct="1">
                <a:spcBef>
                  <a:spcPct val="20000"/>
                </a:spcBef>
                <a:buClr>
                  <a:srgbClr val="C00000"/>
                </a:buClr>
                <a:buFont typeface="Arial" panose="020B0604020202020204" pitchFamily="34" charset="0"/>
                <a:buNone/>
              </a:pPr>
              <a:r>
                <a:rPr lang="de-DE" sz="800" i="0" kern="1200" dirty="0">
                  <a:solidFill>
                    <a:schemeClr val="tx1"/>
                  </a:solidFill>
                  <a:latin typeface="+mn-lt"/>
                  <a:ea typeface="+mn-ea"/>
                </a:rPr>
                <a:t>97.2%</a:t>
              </a:r>
            </a:p>
          </p:txBody>
        </p:sp>
        <p:sp>
          <p:nvSpPr>
            <p:cNvPr id="10" name="Textfeld 9"/>
            <p:cNvSpPr txBox="1"/>
            <p:nvPr/>
          </p:nvSpPr>
          <p:spPr>
            <a:xfrm>
              <a:off x="6588224" y="2542497"/>
              <a:ext cx="48518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8700" indent="0" algn="l" defTabSz="360000" rtl="0" eaLnBrk="1" latinLnBrk="0" hangingPunct="1">
                <a:spcBef>
                  <a:spcPct val="20000"/>
                </a:spcBef>
                <a:buClr>
                  <a:srgbClr val="C00000"/>
                </a:buClr>
                <a:buFont typeface="Arial" panose="020B0604020202020204" pitchFamily="34" charset="0"/>
                <a:buNone/>
              </a:pPr>
              <a:r>
                <a:rPr lang="de-DE" sz="800" dirty="0"/>
                <a:t>83.4</a:t>
              </a:r>
              <a:r>
                <a:rPr lang="de-DE" sz="800" i="0" kern="1200" dirty="0">
                  <a:solidFill>
                    <a:schemeClr val="tx1"/>
                  </a:solidFill>
                  <a:latin typeface="+mn-lt"/>
                  <a:ea typeface="+mn-ea"/>
                </a:rPr>
                <a:t>%</a:t>
              </a:r>
            </a:p>
          </p:txBody>
        </p:sp>
        <p:sp>
          <p:nvSpPr>
            <p:cNvPr id="11" name="Textfeld 10"/>
            <p:cNvSpPr txBox="1"/>
            <p:nvPr/>
          </p:nvSpPr>
          <p:spPr>
            <a:xfrm>
              <a:off x="7524328" y="2439925"/>
              <a:ext cx="48518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8700" indent="0" algn="l" defTabSz="360000" rtl="0" eaLnBrk="1" latinLnBrk="0" hangingPunct="1">
                <a:spcBef>
                  <a:spcPct val="20000"/>
                </a:spcBef>
                <a:buClr>
                  <a:srgbClr val="C00000"/>
                </a:buClr>
                <a:buFont typeface="Arial" panose="020B0604020202020204" pitchFamily="34" charset="0"/>
                <a:buNone/>
              </a:pPr>
              <a:r>
                <a:rPr lang="de-DE" sz="800" dirty="0"/>
                <a:t>97.6</a:t>
              </a:r>
              <a:r>
                <a:rPr lang="de-DE" sz="800" i="0" kern="1200" dirty="0">
                  <a:solidFill>
                    <a:schemeClr val="tx1"/>
                  </a:solidFill>
                  <a:latin typeface="+mn-lt"/>
                  <a:ea typeface="+mn-ea"/>
                </a:rPr>
                <a:t>%</a:t>
              </a:r>
            </a:p>
          </p:txBody>
        </p:sp>
        <p:sp>
          <p:nvSpPr>
            <p:cNvPr id="12" name="Textfeld 11"/>
            <p:cNvSpPr txBox="1"/>
            <p:nvPr/>
          </p:nvSpPr>
          <p:spPr>
            <a:xfrm>
              <a:off x="4744539" y="1544369"/>
              <a:ext cx="550562" cy="2094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8700" indent="0" algn="l" defTabSz="360000" rtl="0" eaLnBrk="1" latinLnBrk="0" hangingPunct="1">
                <a:spcBef>
                  <a:spcPct val="20000"/>
                </a:spcBef>
                <a:buClr>
                  <a:srgbClr val="C00000"/>
                </a:buClr>
                <a:buFont typeface="Arial" panose="020B0604020202020204" pitchFamily="34" charset="0"/>
                <a:buNone/>
              </a:pPr>
              <a:r>
                <a:rPr lang="de-DE" sz="800" dirty="0"/>
                <a:t>14.5</a:t>
              </a:r>
              <a:r>
                <a:rPr lang="de-DE" sz="800" i="0" kern="1200" dirty="0">
                  <a:solidFill>
                    <a:schemeClr val="tx1"/>
                  </a:solidFill>
                  <a:latin typeface="+mn-lt"/>
                  <a:ea typeface="+mn-ea"/>
                </a:rPr>
                <a:t>%</a:t>
              </a:r>
            </a:p>
          </p:txBody>
        </p:sp>
        <p:sp>
          <p:nvSpPr>
            <p:cNvPr id="13" name="Textfeld 12"/>
            <p:cNvSpPr txBox="1"/>
            <p:nvPr/>
          </p:nvSpPr>
          <p:spPr>
            <a:xfrm>
              <a:off x="6616259" y="1563474"/>
              <a:ext cx="553526" cy="2094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8700" indent="0" algn="l" defTabSz="360000" rtl="0" eaLnBrk="1" latinLnBrk="0" hangingPunct="1">
                <a:spcBef>
                  <a:spcPct val="20000"/>
                </a:spcBef>
                <a:buClr>
                  <a:srgbClr val="C00000"/>
                </a:buClr>
                <a:buFont typeface="Arial" panose="020B0604020202020204" pitchFamily="34" charset="0"/>
                <a:buNone/>
              </a:pPr>
              <a:r>
                <a:rPr lang="de-DE" sz="800" dirty="0"/>
                <a:t>15.5</a:t>
              </a:r>
              <a:r>
                <a:rPr lang="de-DE" sz="800" i="0" kern="1200" dirty="0">
                  <a:solidFill>
                    <a:schemeClr val="tx1"/>
                  </a:solidFill>
                  <a:latin typeface="+mn-lt"/>
                  <a:ea typeface="+mn-ea"/>
                </a:rPr>
                <a:t>%</a:t>
              </a:r>
            </a:p>
          </p:txBody>
        </p:sp>
        <p:sp>
          <p:nvSpPr>
            <p:cNvPr id="14" name="Textfeld 13"/>
            <p:cNvSpPr txBox="1"/>
            <p:nvPr/>
          </p:nvSpPr>
          <p:spPr>
            <a:xfrm>
              <a:off x="7957056" y="1399769"/>
              <a:ext cx="503376" cy="2051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8700" indent="0" algn="l" defTabSz="360000" rtl="0" eaLnBrk="1" latinLnBrk="0" hangingPunct="1">
                <a:spcBef>
                  <a:spcPct val="20000"/>
                </a:spcBef>
                <a:buClr>
                  <a:srgbClr val="C00000"/>
                </a:buClr>
                <a:buFont typeface="Arial" panose="020B0604020202020204" pitchFamily="34" charset="0"/>
                <a:buNone/>
              </a:pPr>
              <a:r>
                <a:rPr lang="de-DE" sz="800" dirty="0"/>
                <a:t>2.4</a:t>
              </a:r>
              <a:r>
                <a:rPr lang="de-DE" sz="800" i="0" kern="1200" dirty="0">
                  <a:solidFill>
                    <a:schemeClr val="tx1"/>
                  </a:solidFill>
                  <a:latin typeface="+mn-lt"/>
                  <a:ea typeface="+mn-ea"/>
                </a:rPr>
                <a:t>%</a:t>
              </a:r>
            </a:p>
          </p:txBody>
        </p:sp>
        <p:sp>
          <p:nvSpPr>
            <p:cNvPr id="15" name="Textfeld 14"/>
            <p:cNvSpPr txBox="1"/>
            <p:nvPr/>
          </p:nvSpPr>
          <p:spPr>
            <a:xfrm>
              <a:off x="7598091" y="1314000"/>
              <a:ext cx="430293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8700" indent="0" algn="l" defTabSz="360000" rtl="0" eaLnBrk="1" latinLnBrk="0" hangingPunct="1">
                <a:spcBef>
                  <a:spcPct val="20000"/>
                </a:spcBef>
                <a:buClr>
                  <a:srgbClr val="C00000"/>
                </a:buClr>
                <a:buFont typeface="Arial" panose="020B0604020202020204" pitchFamily="34" charset="0"/>
                <a:buNone/>
              </a:pPr>
              <a:r>
                <a:rPr lang="de-DE" sz="800" dirty="0"/>
                <a:t>0.0</a:t>
              </a:r>
              <a:r>
                <a:rPr lang="de-DE" sz="800" i="0" kern="1200" dirty="0">
                  <a:solidFill>
                    <a:schemeClr val="tx1"/>
                  </a:solidFill>
                  <a:latin typeface="+mn-lt"/>
                  <a:ea typeface="+mn-ea"/>
                </a:rPr>
                <a:t>%</a:t>
              </a:r>
            </a:p>
          </p:txBody>
        </p:sp>
        <p:sp>
          <p:nvSpPr>
            <p:cNvPr id="16" name="Textfeld 15"/>
            <p:cNvSpPr txBox="1"/>
            <p:nvPr/>
          </p:nvSpPr>
          <p:spPr>
            <a:xfrm>
              <a:off x="6645032" y="1314000"/>
              <a:ext cx="503376" cy="2051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8700" indent="0" algn="l" defTabSz="360000" rtl="0" eaLnBrk="1" latinLnBrk="0" hangingPunct="1">
                <a:spcBef>
                  <a:spcPct val="20000"/>
                </a:spcBef>
                <a:buClr>
                  <a:srgbClr val="C00000"/>
                </a:buClr>
                <a:buFont typeface="Arial" panose="020B0604020202020204" pitchFamily="34" charset="0"/>
                <a:buNone/>
              </a:pPr>
              <a:r>
                <a:rPr lang="de-DE" sz="800" dirty="0"/>
                <a:t>1.1</a:t>
              </a:r>
              <a:r>
                <a:rPr lang="de-DE" sz="800" i="0" kern="1200" dirty="0">
                  <a:solidFill>
                    <a:schemeClr val="tx1"/>
                  </a:solidFill>
                  <a:latin typeface="+mn-lt"/>
                  <a:ea typeface="+mn-ea"/>
                </a:rPr>
                <a:t>%</a:t>
              </a:r>
            </a:p>
          </p:txBody>
        </p:sp>
        <p:sp>
          <p:nvSpPr>
            <p:cNvPr id="17" name="Textfeld 16"/>
            <p:cNvSpPr txBox="1"/>
            <p:nvPr/>
          </p:nvSpPr>
          <p:spPr>
            <a:xfrm>
              <a:off x="5703992" y="1399628"/>
              <a:ext cx="503376" cy="2051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8700" indent="0" algn="l" defTabSz="360000" rtl="0" eaLnBrk="1" latinLnBrk="0" hangingPunct="1">
                <a:spcBef>
                  <a:spcPct val="20000"/>
                </a:spcBef>
                <a:buClr>
                  <a:srgbClr val="C00000"/>
                </a:buClr>
                <a:buFont typeface="Arial" panose="020B0604020202020204" pitchFamily="34" charset="0"/>
                <a:buNone/>
              </a:pPr>
              <a:r>
                <a:rPr lang="de-DE" sz="800" dirty="0"/>
                <a:t>2.8</a:t>
              </a:r>
              <a:r>
                <a:rPr lang="de-DE" sz="800" i="0" kern="1200" dirty="0">
                  <a:solidFill>
                    <a:schemeClr val="tx1"/>
                  </a:solidFill>
                  <a:latin typeface="+mn-lt"/>
                  <a:ea typeface="+mn-ea"/>
                </a:rPr>
                <a:t>%</a:t>
              </a:r>
            </a:p>
          </p:txBody>
        </p:sp>
        <p:sp>
          <p:nvSpPr>
            <p:cNvPr id="19" name="Textfeld 18"/>
            <p:cNvSpPr txBox="1"/>
            <p:nvPr/>
          </p:nvSpPr>
          <p:spPr>
            <a:xfrm>
              <a:off x="5703992" y="1314000"/>
              <a:ext cx="503376" cy="2051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8700" indent="0" algn="l" defTabSz="360000" rtl="0" eaLnBrk="1" latinLnBrk="0" hangingPunct="1">
                <a:spcBef>
                  <a:spcPct val="20000"/>
                </a:spcBef>
                <a:buClr>
                  <a:srgbClr val="C00000"/>
                </a:buClr>
                <a:buFont typeface="Arial" panose="020B0604020202020204" pitchFamily="34" charset="0"/>
                <a:buNone/>
              </a:pPr>
              <a:r>
                <a:rPr lang="de-DE" sz="800" dirty="0"/>
                <a:t>0.0</a:t>
              </a:r>
              <a:r>
                <a:rPr lang="de-DE" sz="800" i="0" kern="1200" dirty="0">
                  <a:solidFill>
                    <a:schemeClr val="tx1"/>
                  </a:solidFill>
                  <a:latin typeface="+mn-lt"/>
                  <a:ea typeface="+mn-ea"/>
                </a:rPr>
                <a:t>%</a:t>
              </a:r>
            </a:p>
          </p:txBody>
        </p:sp>
        <p:sp>
          <p:nvSpPr>
            <p:cNvPr id="20" name="Textfeld 19"/>
            <p:cNvSpPr txBox="1"/>
            <p:nvPr/>
          </p:nvSpPr>
          <p:spPr>
            <a:xfrm>
              <a:off x="4769803" y="1314000"/>
              <a:ext cx="503376" cy="2051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8700" indent="0" algn="l" defTabSz="360000" rtl="0" eaLnBrk="1" latinLnBrk="0" hangingPunct="1">
                <a:spcBef>
                  <a:spcPct val="20000"/>
                </a:spcBef>
                <a:buClr>
                  <a:srgbClr val="C00000"/>
                </a:buClr>
                <a:buFont typeface="Arial" panose="020B0604020202020204" pitchFamily="34" charset="0"/>
                <a:buNone/>
              </a:pPr>
              <a:r>
                <a:rPr lang="de-DE" sz="800" dirty="0"/>
                <a:t>0.6</a:t>
              </a:r>
              <a:r>
                <a:rPr lang="de-DE" sz="800" i="0" kern="1200" dirty="0">
                  <a:solidFill>
                    <a:schemeClr val="tx1"/>
                  </a:solidFill>
                  <a:latin typeface="+mn-lt"/>
                  <a:ea typeface="+mn-ea"/>
                </a:rPr>
                <a:t>%</a:t>
              </a:r>
            </a:p>
          </p:txBody>
        </p:sp>
        <p:cxnSp>
          <p:nvCxnSpPr>
            <p:cNvPr id="22" name="Gerader Verbinder 21"/>
            <p:cNvCxnSpPr/>
            <p:nvPr/>
          </p:nvCxnSpPr>
          <p:spPr>
            <a:xfrm flipH="1">
              <a:off x="8000389" y="1499130"/>
              <a:ext cx="65558" cy="0"/>
            </a:xfrm>
            <a:prstGeom prst="line">
              <a:avLst/>
            </a:prstGeom>
            <a:ln>
              <a:solidFill>
                <a:srgbClr val="A6C9E6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B61B2E7D-4A8D-D498-A984-12C52BC1B176}"/>
                </a:ext>
              </a:extLst>
            </p:cNvPr>
            <p:cNvSpPr txBox="1"/>
            <p:nvPr/>
          </p:nvSpPr>
          <p:spPr>
            <a:xfrm>
              <a:off x="5292000" y="4371950"/>
              <a:ext cx="485835" cy="20948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38700" indent="0" algn="l" defTabSz="360000" rtl="0" eaLnBrk="1" latinLnBrk="0" hangingPunct="1">
                <a:spcBef>
                  <a:spcPct val="20000"/>
                </a:spcBef>
                <a:buClr>
                  <a:srgbClr val="C00000"/>
                </a:buClr>
                <a:buFont typeface="Arial" panose="020B0604020202020204" pitchFamily="34" charset="0"/>
                <a:buNone/>
              </a:pPr>
              <a:endParaRPr lang="nl-NL" sz="1600" b="1" i="0" kern="120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6A016BCE-28A8-C109-882B-AFC0C04B527F}"/>
                </a:ext>
              </a:extLst>
            </p:cNvPr>
            <p:cNvSpPr txBox="1"/>
            <p:nvPr/>
          </p:nvSpPr>
          <p:spPr>
            <a:xfrm>
              <a:off x="4572000" y="3939902"/>
              <a:ext cx="837543" cy="282573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36000" tIns="0" rIns="36000" bIns="36000" rtlCol="0">
              <a:spAutoFit/>
            </a:bodyPr>
            <a:lstStyle/>
            <a:p>
              <a:pPr indent="0" algn="ctr" defTabSz="360000" rtl="0" eaLnBrk="1" latinLnBrk="0" hangingPunct="1">
                <a:buClr>
                  <a:srgbClr val="C00000"/>
                </a:buClr>
                <a:buFont typeface="Arial" panose="020B0604020202020204" pitchFamily="34" charset="0"/>
                <a:buNone/>
              </a:pPr>
              <a:r>
                <a:rPr lang="en-US" sz="800" dirty="0"/>
                <a:t>TAVI 30 Days</a:t>
              </a:r>
            </a:p>
            <a:p>
              <a:pPr marL="38700" indent="0" algn="ctr" defTabSz="360000" rtl="0" eaLnBrk="1" latinLnBrk="0" hangingPunct="1">
                <a:buClr>
                  <a:srgbClr val="C00000"/>
                </a:buClr>
                <a:buFont typeface="Arial" panose="020B0604020202020204" pitchFamily="34" charset="0"/>
                <a:buNone/>
              </a:pPr>
              <a:r>
                <a:rPr lang="en-US" sz="800" i="0" kern="1200" dirty="0">
                  <a:solidFill>
                    <a:schemeClr val="tx1"/>
                  </a:solidFill>
                  <a:latin typeface="+mn-lt"/>
                  <a:ea typeface="+mn-ea"/>
                </a:rPr>
                <a:t>(n=159)</a:t>
              </a:r>
              <a:endParaRPr lang="nl-NL" sz="800" i="0" kern="120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296507EA-F6CA-CFFE-975F-F5766273E566}"/>
                </a:ext>
              </a:extLst>
            </p:cNvPr>
            <p:cNvSpPr txBox="1"/>
            <p:nvPr/>
          </p:nvSpPr>
          <p:spPr>
            <a:xfrm>
              <a:off x="5494827" y="3939902"/>
              <a:ext cx="837543" cy="282573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36000" tIns="0" rIns="36000" bIns="36000" rtlCol="0">
              <a:spAutoFit/>
            </a:bodyPr>
            <a:lstStyle/>
            <a:p>
              <a:pPr indent="0" algn="ctr" defTabSz="360000" rtl="0" eaLnBrk="1" latinLnBrk="0" hangingPunct="1">
                <a:buClr>
                  <a:srgbClr val="C00000"/>
                </a:buClr>
                <a:buFont typeface="Arial" panose="020B0604020202020204" pitchFamily="34" charset="0"/>
                <a:buNone/>
              </a:pPr>
              <a:r>
                <a:rPr lang="en-US" sz="800" dirty="0"/>
                <a:t>Surgery 30 Days</a:t>
              </a:r>
            </a:p>
            <a:p>
              <a:pPr marL="38700" indent="0" algn="ctr" defTabSz="360000" rtl="0" eaLnBrk="1" latinLnBrk="0" hangingPunct="1">
                <a:buClr>
                  <a:srgbClr val="C00000"/>
                </a:buClr>
                <a:buFont typeface="Arial" panose="020B0604020202020204" pitchFamily="34" charset="0"/>
                <a:buNone/>
              </a:pPr>
              <a:r>
                <a:rPr lang="en-US" sz="800" i="0" kern="1200" dirty="0">
                  <a:solidFill>
                    <a:schemeClr val="tx1"/>
                  </a:solidFill>
                  <a:latin typeface="+mn-lt"/>
                  <a:ea typeface="+mn-ea"/>
                </a:rPr>
                <a:t>(n=145)</a:t>
              </a:r>
              <a:endParaRPr lang="nl-NL" sz="800" i="0" kern="120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FD4689E6-5B34-7950-900E-4207951242D5}"/>
                </a:ext>
              </a:extLst>
            </p:cNvPr>
            <p:cNvSpPr txBox="1"/>
            <p:nvPr/>
          </p:nvSpPr>
          <p:spPr>
            <a:xfrm>
              <a:off x="6431280" y="3939902"/>
              <a:ext cx="837543" cy="282573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36000" tIns="0" rIns="36000" bIns="36000" rtlCol="0">
              <a:spAutoFit/>
            </a:bodyPr>
            <a:lstStyle/>
            <a:p>
              <a:pPr indent="0" algn="ctr" defTabSz="360000" rtl="0" eaLnBrk="1" latinLnBrk="0" hangingPunct="1">
                <a:buClr>
                  <a:srgbClr val="C00000"/>
                </a:buClr>
                <a:buFont typeface="Arial" panose="020B0604020202020204" pitchFamily="34" charset="0"/>
                <a:buNone/>
              </a:pPr>
              <a:r>
                <a:rPr lang="en-US" sz="800" dirty="0"/>
                <a:t>TAVI 1 Year</a:t>
              </a:r>
            </a:p>
            <a:p>
              <a:pPr marL="38700" indent="0" algn="ctr" defTabSz="360000" rtl="0" eaLnBrk="1" latinLnBrk="0" hangingPunct="1">
                <a:buClr>
                  <a:srgbClr val="C00000"/>
                </a:buClr>
                <a:buFont typeface="Arial" panose="020B0604020202020204" pitchFamily="34" charset="0"/>
                <a:buNone/>
              </a:pPr>
              <a:r>
                <a:rPr lang="en-US" sz="800" i="0" kern="1200" dirty="0">
                  <a:solidFill>
                    <a:schemeClr val="tx1"/>
                  </a:solidFill>
                  <a:latin typeface="+mn-lt"/>
                  <a:ea typeface="+mn-ea"/>
                </a:rPr>
                <a:t>(n=187)</a:t>
              </a:r>
              <a:endParaRPr lang="nl-NL" sz="800" i="0" kern="120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08FE122B-B333-FD5F-69F3-DB5393BF8512}"/>
                </a:ext>
              </a:extLst>
            </p:cNvPr>
            <p:cNvSpPr txBox="1"/>
            <p:nvPr/>
          </p:nvSpPr>
          <p:spPr>
            <a:xfrm>
              <a:off x="7340481" y="3939902"/>
              <a:ext cx="837543" cy="282573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36000" tIns="0" rIns="36000" bIns="36000" rtlCol="0">
              <a:spAutoFit/>
            </a:bodyPr>
            <a:lstStyle/>
            <a:p>
              <a:pPr indent="0" algn="ctr" defTabSz="360000" rtl="0" eaLnBrk="1" latinLnBrk="0" hangingPunct="1">
                <a:buClr>
                  <a:srgbClr val="C00000"/>
                </a:buClr>
                <a:buFont typeface="Arial" panose="020B0604020202020204" pitchFamily="34" charset="0"/>
                <a:buNone/>
              </a:pPr>
              <a:r>
                <a:rPr lang="en-US" sz="800" dirty="0"/>
                <a:t>Surgery 1 Year</a:t>
              </a:r>
            </a:p>
            <a:p>
              <a:pPr marL="38700" indent="0" algn="ctr" defTabSz="360000" rtl="0" eaLnBrk="1" latinLnBrk="0" hangingPunct="1">
                <a:buClr>
                  <a:srgbClr val="C00000"/>
                </a:buClr>
                <a:buFont typeface="Arial" panose="020B0604020202020204" pitchFamily="34" charset="0"/>
                <a:buNone/>
              </a:pPr>
              <a:r>
                <a:rPr lang="en-US" sz="800" i="0" kern="1200" dirty="0">
                  <a:solidFill>
                    <a:schemeClr val="tx1"/>
                  </a:solidFill>
                  <a:latin typeface="+mn-lt"/>
                  <a:ea typeface="+mn-ea"/>
                </a:rPr>
                <a:t>(n=169)</a:t>
              </a:r>
              <a:endParaRPr lang="nl-NL" sz="800" i="0" kern="120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26F9E21C-BE02-4AE0-11CC-B784CBF0002C}"/>
              </a:ext>
            </a:extLst>
          </p:cNvPr>
          <p:cNvSpPr txBox="1"/>
          <p:nvPr/>
        </p:nvSpPr>
        <p:spPr>
          <a:xfrm>
            <a:off x="4263692" y="4258549"/>
            <a:ext cx="1393472" cy="34354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36000" tIns="36000" rIns="36000" bIns="36000" rtlCol="0">
            <a:spAutoFit/>
          </a:bodyPr>
          <a:lstStyle/>
          <a:p>
            <a:pPr marL="38700" indent="0" algn="l" defTabSz="3600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None/>
            </a:pPr>
            <a:r>
              <a:rPr lang="en-US" sz="800" b="1" dirty="0"/>
              <a:t>Mild PVR </a:t>
            </a:r>
            <a:r>
              <a:rPr lang="en-US" sz="800" dirty="0"/>
              <a:t>30 Days p &lt; 0.001</a:t>
            </a:r>
          </a:p>
          <a:p>
            <a:pPr marL="38700" indent="0" algn="l" defTabSz="3600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None/>
            </a:pPr>
            <a:r>
              <a:rPr lang="en-US" sz="800" b="1" dirty="0"/>
              <a:t>Mild PVR </a:t>
            </a:r>
            <a:r>
              <a:rPr lang="en-US" sz="800" dirty="0"/>
              <a:t>1 Year p &lt; 0.001 </a:t>
            </a:r>
            <a:endParaRPr lang="nl-NL" sz="800" i="0" kern="1200" dirty="0">
              <a:solidFill>
                <a:schemeClr val="tx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2865383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581C36-BFC3-34EE-82A1-942CD23914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ality of Life</a:t>
            </a:r>
            <a:r>
              <a:rPr lang="cs-CZ" dirty="0"/>
              <a:t> KCCQ evaluation</a:t>
            </a:r>
            <a:endParaRPr lang="nl-NL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69017E9-C54D-4663-B98D-DB1BA9AF0C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16808" y="337665"/>
            <a:ext cx="978551" cy="58713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6DF3628-0013-046F-39F0-18AC53AC171D}"/>
              </a:ext>
            </a:extLst>
          </p:cNvPr>
          <p:cNvSpPr txBox="1"/>
          <p:nvPr/>
        </p:nvSpPr>
        <p:spPr>
          <a:xfrm>
            <a:off x="2699792" y="4322008"/>
            <a:ext cx="374441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0" algn="l" defTabSz="360000" rtl="0" eaLnBrk="1" latinLnBrk="0" hangingPunct="1">
              <a:buClr>
                <a:srgbClr val="C00000"/>
              </a:buClr>
              <a:buFont typeface="Arial" panose="020B0604020202020204" pitchFamily="34" charset="0"/>
              <a:buNone/>
            </a:pPr>
            <a:r>
              <a:rPr lang="en-US" sz="1000" b="1" i="0" kern="1200" dirty="0">
                <a:solidFill>
                  <a:schemeClr val="tx1"/>
                </a:solidFill>
                <a:latin typeface="+mn-lt"/>
                <a:ea typeface="+mn-ea"/>
              </a:rPr>
              <a:t>No. of patients</a:t>
            </a:r>
          </a:p>
          <a:p>
            <a:pPr indent="0" algn="l" defTabSz="360000" rtl="0" eaLnBrk="1" latinLnBrk="0" hangingPunct="1">
              <a:buClr>
                <a:srgbClr val="C00000"/>
              </a:buClr>
              <a:buFont typeface="Arial" panose="020B0604020202020204" pitchFamily="34" charset="0"/>
              <a:buNone/>
            </a:pPr>
            <a:r>
              <a:rPr lang="en-US" sz="1000" b="1" dirty="0">
                <a:solidFill>
                  <a:srgbClr val="C00000"/>
                </a:solidFill>
              </a:rPr>
              <a:t>Surgery</a:t>
            </a:r>
            <a:r>
              <a:rPr lang="en-US" sz="1000" dirty="0">
                <a:solidFill>
                  <a:srgbClr val="C00000"/>
                </a:solidFill>
              </a:rPr>
              <a:t>	198	191					186</a:t>
            </a:r>
          </a:p>
          <a:p>
            <a:pPr indent="0" algn="l" defTabSz="360000" rtl="0" eaLnBrk="1" latinLnBrk="0" hangingPunct="1">
              <a:buClr>
                <a:srgbClr val="C00000"/>
              </a:buClr>
              <a:buFont typeface="Arial" panose="020B0604020202020204" pitchFamily="34" charset="0"/>
              <a:buNone/>
            </a:pPr>
            <a:r>
              <a:rPr lang="en-US" sz="1000" b="1" i="0" kern="1200" dirty="0">
                <a:solidFill>
                  <a:srgbClr val="3366CC"/>
                </a:solidFill>
                <a:latin typeface="+mn-lt"/>
                <a:ea typeface="+mn-ea"/>
              </a:rPr>
              <a:t>TAVI</a:t>
            </a:r>
            <a:r>
              <a:rPr lang="en-US" sz="1000" i="0" kern="1200" dirty="0">
                <a:solidFill>
                  <a:srgbClr val="3366CC"/>
                </a:solidFill>
                <a:latin typeface="+mn-lt"/>
                <a:ea typeface="+mn-ea"/>
              </a:rPr>
              <a:t>		209	204					203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64755D1-DCE0-AE6B-E35E-AB73F886A7C1}"/>
              </a:ext>
            </a:extLst>
          </p:cNvPr>
          <p:cNvGrpSpPr/>
          <p:nvPr/>
        </p:nvGrpSpPr>
        <p:grpSpPr>
          <a:xfrm>
            <a:off x="2627784" y="821492"/>
            <a:ext cx="3816424" cy="3478450"/>
            <a:chOff x="2627784" y="771551"/>
            <a:chExt cx="3816424" cy="347845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F7F4190E-2EDC-B336-C0F3-D97F3CAD755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-1923" t="2400" r="-1" b="4702"/>
            <a:stretch/>
          </p:blipFill>
          <p:spPr>
            <a:xfrm>
              <a:off x="2627784" y="771551"/>
              <a:ext cx="3816424" cy="3478450"/>
            </a:xfrm>
            <a:prstGeom prst="rect">
              <a:avLst/>
            </a:prstGeom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F9975EF2-597B-772E-6EBB-0C10D94005B6}"/>
                </a:ext>
              </a:extLst>
            </p:cNvPr>
            <p:cNvSpPr txBox="1"/>
            <p:nvPr/>
          </p:nvSpPr>
          <p:spPr>
            <a:xfrm>
              <a:off x="5436096" y="2499742"/>
              <a:ext cx="538149" cy="37277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36000" rIns="36000" rtlCol="0">
              <a:spAutoFit/>
            </a:bodyPr>
            <a:lstStyle/>
            <a:p>
              <a:pPr marL="38700" indent="0" defTabSz="360000" rtl="0" eaLnBrk="1" latinLnBrk="0" hangingPunct="1">
                <a:spcBef>
                  <a:spcPct val="20000"/>
                </a:spcBef>
                <a:buClr>
                  <a:srgbClr val="C00000"/>
                </a:buClr>
                <a:buFont typeface="Arial" panose="020B0604020202020204" pitchFamily="34" charset="0"/>
                <a:buNone/>
              </a:pPr>
              <a:r>
                <a:rPr lang="en-US" sz="1000" b="1" i="0" kern="1200" dirty="0">
                  <a:latin typeface="+mn-lt"/>
                  <a:ea typeface="+mn-ea"/>
                </a:rPr>
                <a:t>Surgery</a:t>
              </a:r>
            </a:p>
            <a:p>
              <a:pPr marL="38700" indent="0" defTabSz="360000" rtl="0" eaLnBrk="1" latinLnBrk="0" hangingPunct="1">
                <a:spcBef>
                  <a:spcPct val="20000"/>
                </a:spcBef>
                <a:buClr>
                  <a:srgbClr val="C00000"/>
                </a:buClr>
                <a:buFont typeface="Arial" panose="020B0604020202020204" pitchFamily="34" charset="0"/>
                <a:buNone/>
              </a:pPr>
              <a:r>
                <a:rPr lang="en-US" sz="1000" b="1" i="0" kern="1200" dirty="0">
                  <a:latin typeface="+mn-lt"/>
                  <a:ea typeface="+mn-ea"/>
                </a:rPr>
                <a:t>TAVI</a:t>
              </a:r>
              <a:endParaRPr lang="nl-NL" sz="1000" b="1" i="0" kern="1200" dirty="0">
                <a:latin typeface="+mn-lt"/>
                <a:ea typeface="+mn-ea"/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17A83304-A9BD-5208-A37D-92A3DC2BFF1E}"/>
              </a:ext>
            </a:extLst>
          </p:cNvPr>
          <p:cNvSpPr txBox="1"/>
          <p:nvPr/>
        </p:nvSpPr>
        <p:spPr>
          <a:xfrm>
            <a:off x="3707904" y="1750408"/>
            <a:ext cx="7200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700" indent="0" algn="l" defTabSz="3600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None/>
            </a:pPr>
            <a:r>
              <a:rPr lang="en-US" sz="1000" dirty="0"/>
              <a:t>p</a:t>
            </a:r>
            <a:r>
              <a:rPr lang="en-US" sz="1000" i="0" kern="1200" dirty="0">
                <a:solidFill>
                  <a:schemeClr val="tx1"/>
                </a:solidFill>
                <a:latin typeface="+mn-lt"/>
                <a:ea typeface="+mn-ea"/>
              </a:rPr>
              <a:t> &lt; 0.001</a:t>
            </a:r>
            <a:endParaRPr lang="nl-NL" sz="1000" i="0" kern="120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7FF0A08-16CC-8890-5BD4-0A2FD106E4E2}"/>
              </a:ext>
            </a:extLst>
          </p:cNvPr>
          <p:cNvSpPr txBox="1"/>
          <p:nvPr/>
        </p:nvSpPr>
        <p:spPr>
          <a:xfrm>
            <a:off x="5508104" y="1439366"/>
            <a:ext cx="7200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700" indent="0" algn="l" defTabSz="3600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None/>
            </a:pPr>
            <a:r>
              <a:rPr lang="en-US" sz="1000" dirty="0"/>
              <a:t>p</a:t>
            </a:r>
            <a:r>
              <a:rPr lang="en-US" sz="1000" i="0" kern="1200" dirty="0">
                <a:solidFill>
                  <a:schemeClr val="tx1"/>
                </a:solidFill>
                <a:latin typeface="+mn-lt"/>
                <a:ea typeface="+mn-ea"/>
              </a:rPr>
              <a:t> = 0.13</a:t>
            </a:r>
            <a:endParaRPr lang="nl-NL" sz="1000" i="0" kern="1200" dirty="0">
              <a:solidFill>
                <a:schemeClr val="tx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55581328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81BC5B-235A-CF3E-5E1C-4E121ADA26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  <a:endParaRPr lang="nl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7DCD91-C77F-C001-29E2-73DDF63B3CA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US" sz="18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b="0" dirty="0"/>
              <a:t>In </a:t>
            </a:r>
            <a:r>
              <a:rPr lang="en-US" sz="1800" dirty="0"/>
              <a:t>women all comers </a:t>
            </a:r>
            <a:r>
              <a:rPr lang="en-US" sz="1800" b="0" dirty="0"/>
              <a:t>with severe aortic stenosis, </a:t>
            </a:r>
            <a:r>
              <a:rPr lang="en-US" sz="1800" dirty="0"/>
              <a:t>TAVI</a:t>
            </a:r>
            <a:r>
              <a:rPr lang="en-US" sz="1800" b="0" dirty="0"/>
              <a:t> using SAPIEN 3 or SAPIEN 3 Ultra was </a:t>
            </a:r>
            <a:r>
              <a:rPr lang="en-US" sz="1800" dirty="0"/>
              <a:t>superior to surgery </a:t>
            </a:r>
            <a:r>
              <a:rPr lang="en-US" sz="1800" b="0" dirty="0"/>
              <a:t>for the </a:t>
            </a:r>
            <a:r>
              <a:rPr lang="en-US" sz="1800" dirty="0"/>
              <a:t>primary composite end point </a:t>
            </a:r>
            <a:r>
              <a:rPr lang="en-US" sz="1800" b="0" dirty="0"/>
              <a:t>of death, stroke, or rehospitalization at one year. This superiority was essentially driven by the lower rate or rehospitalizations</a:t>
            </a:r>
          </a:p>
          <a:p>
            <a:endParaRPr lang="en-US" sz="18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/>
              <a:t>TAVI</a:t>
            </a:r>
            <a:r>
              <a:rPr lang="en-GB" sz="1800" b="0" dirty="0"/>
              <a:t> had a </a:t>
            </a:r>
            <a:r>
              <a:rPr lang="en-GB" sz="1800" dirty="0"/>
              <a:t>lower incidence </a:t>
            </a:r>
            <a:r>
              <a:rPr lang="en-GB" sz="1800" b="0" dirty="0"/>
              <a:t>of new onset AF at 30 days, a quicker recovery and shorter length of index hospital stay, but </a:t>
            </a:r>
            <a:r>
              <a:rPr lang="en-GB" sz="1800" dirty="0"/>
              <a:t>higher rates </a:t>
            </a:r>
            <a:r>
              <a:rPr lang="en-GB" sz="1800" b="0" dirty="0"/>
              <a:t>of mild paravalvular aortic regurgitation and new permanent pacemaker implantation</a:t>
            </a:r>
          </a:p>
          <a:p>
            <a:endParaRPr lang="en-GB" sz="18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9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9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BAC29E4-9E30-DF6F-7265-3C81BA795F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6808" y="337665"/>
            <a:ext cx="978551" cy="587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2153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81BC5B-235A-CF3E-5E1C-4E121ADA26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 (cont.)</a:t>
            </a:r>
            <a:endParaRPr lang="nl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7DCD91-C77F-C001-29E2-73DDF63B3CA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Hemodynamics</a:t>
            </a:r>
            <a:r>
              <a:rPr lang="en-US" sz="1800" b="0" dirty="0"/>
              <a:t> of the implanted valves were </a:t>
            </a:r>
            <a:r>
              <a:rPr lang="en-US" sz="1800" dirty="0"/>
              <a:t>comparable</a:t>
            </a:r>
            <a:r>
              <a:rPr lang="en-US" sz="1800" b="0" dirty="0"/>
              <a:t> between TAVI and surgery with no differences in mean gradient or</a:t>
            </a:r>
            <a:r>
              <a:rPr lang="en-US" sz="1800" b="0" dirty="0">
                <a:solidFill>
                  <a:srgbClr val="FF0000"/>
                </a:solidFill>
              </a:rPr>
              <a:t> </a:t>
            </a:r>
            <a:r>
              <a:rPr lang="en-US" sz="1800" b="0" dirty="0"/>
              <a:t>aortic valve are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/>
              <a:t>Besides the patient benefit, the less invasive TAVI treatment also provides </a:t>
            </a:r>
            <a:r>
              <a:rPr lang="en-US" sz="1800" dirty="0"/>
              <a:t>benefits </a:t>
            </a:r>
            <a:r>
              <a:rPr lang="en-US" sz="1800" b="0" dirty="0"/>
              <a:t>in terms of </a:t>
            </a:r>
            <a:r>
              <a:rPr lang="en-US" sz="1800" dirty="0"/>
              <a:t>health care resources</a:t>
            </a:r>
            <a:r>
              <a:rPr lang="en-US" sz="1800" b="0" dirty="0"/>
              <a:t>: </a:t>
            </a:r>
          </a:p>
          <a:p>
            <a:pPr marL="552450" lvl="1" indent="-285750">
              <a:buFont typeface="Wingdings" panose="05000000000000000000" pitchFamily="2" charset="2"/>
              <a:buChar char="§"/>
            </a:pPr>
            <a:r>
              <a:rPr lang="en-US" sz="1800" b="0" dirty="0"/>
              <a:t>Less rehospitalization</a:t>
            </a:r>
          </a:p>
          <a:p>
            <a:pPr marL="552450" lvl="1" indent="-285750">
              <a:buFont typeface="Wingdings" panose="05000000000000000000" pitchFamily="2" charset="2"/>
              <a:buChar char="§"/>
            </a:pPr>
            <a:r>
              <a:rPr lang="en-US" sz="1800" b="0" dirty="0"/>
              <a:t>Shorter index hospital stay</a:t>
            </a:r>
          </a:p>
          <a:p>
            <a:pPr marL="552450" lvl="1" indent="-285750">
              <a:buFont typeface="Wingdings" panose="05000000000000000000" pitchFamily="2" charset="2"/>
              <a:buChar char="§"/>
            </a:pPr>
            <a:r>
              <a:rPr lang="en-US" sz="1800" b="0" dirty="0"/>
              <a:t>More patients discharged home</a:t>
            </a:r>
          </a:p>
          <a:p>
            <a:pPr marL="552450" lvl="1" indent="-285750">
              <a:buFont typeface="Wingdings" panose="05000000000000000000" pitchFamily="2" charset="2"/>
              <a:buChar char="§"/>
            </a:pPr>
            <a:endParaRPr lang="en-US" sz="18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BAC29E4-9E30-DF6F-7265-3C81BA795F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6808" y="337665"/>
            <a:ext cx="978551" cy="587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10712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6D6CE7-0197-07EB-F709-7905D4E07E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nical Implications</a:t>
            </a:r>
            <a:endParaRPr lang="nl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CAD3D7-F4E8-6754-A87B-31D33A273A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1800" dirty="0"/>
          </a:p>
          <a:p>
            <a:endParaRPr lang="en-US" sz="1800" dirty="0"/>
          </a:p>
          <a:p>
            <a:r>
              <a:rPr lang="en-US" b="0" dirty="0"/>
              <a:t>In </a:t>
            </a:r>
            <a:r>
              <a:rPr lang="en-US" dirty="0"/>
              <a:t>women </a:t>
            </a:r>
            <a:r>
              <a:rPr lang="en-US" b="0" dirty="0"/>
              <a:t>with</a:t>
            </a:r>
            <a:r>
              <a:rPr lang="en-US" dirty="0"/>
              <a:t> symptomatic severe aortic stenosis</a:t>
            </a:r>
            <a:r>
              <a:rPr lang="en-US" b="0" dirty="0"/>
              <a:t>, </a:t>
            </a:r>
            <a:r>
              <a:rPr lang="en-US" dirty="0"/>
              <a:t>TAVI </a:t>
            </a:r>
            <a:r>
              <a:rPr lang="en-US" b="0" dirty="0"/>
              <a:t>using balloon-expandable devices could be considered the </a:t>
            </a:r>
            <a:r>
              <a:rPr lang="en-US" dirty="0"/>
              <a:t>preferred therap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BF4F7F7-7E44-4A02-6B82-22087019A4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16808" y="337665"/>
            <a:ext cx="978551" cy="587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97852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1963DB7-96E7-E043-54FE-04A7CFF386B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Study Limitations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>
            <a:normAutofit fontScale="70000" lnSpcReduction="2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GB" sz="26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600" b="0" dirty="0"/>
              <a:t>RHEIA trial was of </a:t>
            </a:r>
            <a:r>
              <a:rPr lang="en-GB" sz="2600" dirty="0"/>
              <a:t>limited size </a:t>
            </a:r>
            <a:r>
              <a:rPr lang="en-GB" sz="2600" b="0" dirty="0"/>
              <a:t>so there is inevitable uncertainty reflected by wide confidence intervals for treatment differen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6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600" b="0" dirty="0"/>
              <a:t>Women with unicuspid, biscuspid, or non-calcified valves were </a:t>
            </a:r>
            <a:r>
              <a:rPr lang="en-GB" sz="2600" dirty="0"/>
              <a:t>exclude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6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600" b="0" dirty="0"/>
              <a:t>The </a:t>
            </a:r>
            <a:r>
              <a:rPr lang="en-GB" sz="2600" dirty="0"/>
              <a:t>recruitment period was long </a:t>
            </a:r>
            <a:r>
              <a:rPr lang="en-GB" sz="2600" b="0" dirty="0"/>
              <a:t>(~3·5 years) and this was related to the fact that this phase of the trial occurred during the COVID pandemic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6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600" dirty="0"/>
              <a:t>Concomitant</a:t>
            </a:r>
            <a:r>
              <a:rPr lang="en-GB" sz="2600" b="0" dirty="0"/>
              <a:t> procedures were performed in 13.2 % of the surgical patient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6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600" b="0" dirty="0"/>
              <a:t>The findings relate to a third-generation balloon-expandable valve system and </a:t>
            </a:r>
            <a:r>
              <a:rPr lang="en-GB" sz="2600" dirty="0"/>
              <a:t>cannot be extrapolated </a:t>
            </a:r>
            <a:r>
              <a:rPr lang="en-GB" sz="2600" b="0" dirty="0"/>
              <a:t>to other valve types</a:t>
            </a:r>
            <a:endParaRPr lang="en-CA" sz="2600" b="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F1DF66-03D3-C261-FA74-054C610D28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16808" y="337665"/>
            <a:ext cx="978551" cy="587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92877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303D21-0985-2392-6B29-584BD24A5D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Baseline Patient Characteristics</a:t>
            </a:r>
            <a:endParaRPr lang="nl-NL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C2A7AB3-706C-D9D8-1A01-819C65F4CB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6808" y="337665"/>
            <a:ext cx="978551" cy="587131"/>
          </a:xfrm>
          <a:prstGeom prst="rect">
            <a:avLst/>
          </a:prstGeom>
        </p:spPr>
      </p:pic>
      <p:graphicFrame>
        <p:nvGraphicFramePr>
          <p:cNvPr id="2" name="Content Placeholder 4">
            <a:extLst>
              <a:ext uri="{FF2B5EF4-FFF2-40B4-BE49-F238E27FC236}">
                <a16:creationId xmlns:a16="http://schemas.microsoft.com/office/drawing/2014/main" id="{51374A9A-5FD4-D5F0-16F6-891106F5A3CE}"/>
              </a:ext>
            </a:extLst>
          </p:cNvPr>
          <p:cNvGraphicFramePr>
            <a:graphicFrameLocks/>
          </p:cNvGraphicFramePr>
          <p:nvPr/>
        </p:nvGraphicFramePr>
        <p:xfrm>
          <a:off x="423333" y="771550"/>
          <a:ext cx="6480720" cy="2074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60440">
                  <a:extLst>
                    <a:ext uri="{9D8B030D-6E8A-4147-A177-3AD203B41FA5}">
                      <a16:colId xmlns:a16="http://schemas.microsoft.com/office/drawing/2014/main" val="2636849745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1173353381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1161597867"/>
                    </a:ext>
                  </a:extLst>
                </a:gridCol>
              </a:tblGrid>
              <a:tr h="296476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b="1" kern="100" dirty="0">
                          <a:effectLst/>
                          <a:highlight>
                            <a:srgbClr val="F7CAAC"/>
                          </a:highlight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nl-NL" sz="1400" kern="100" dirty="0">
                        <a:effectLst/>
                        <a:highlight>
                          <a:srgbClr val="F7CAAC"/>
                        </a:highlight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454" marR="26454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AVI (N=215)</a:t>
                      </a:r>
                      <a:endParaRPr lang="nl-NL" sz="1400" kern="1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urgery (N=205)</a:t>
                      </a:r>
                      <a:endParaRPr lang="nl-NL" sz="1400" kern="1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extLst>
                  <a:ext uri="{0D108BD9-81ED-4DB2-BD59-A6C34878D82A}">
                    <a16:rowId xmlns:a16="http://schemas.microsoft.com/office/drawing/2014/main" val="4154616907"/>
                  </a:ext>
                </a:extLst>
              </a:tr>
              <a:tr h="296294">
                <a:tc>
                  <a:txBody>
                    <a:bodyPr/>
                    <a:lstStyle/>
                    <a:p>
                      <a:pPr marL="72000" algn="l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b="0" kern="100" spc="-1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ge — years</a:t>
                      </a:r>
                      <a:endParaRPr lang="nl-NL" sz="1400" b="0" kern="100" spc="-1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454" marR="26454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3.1 ± 4.5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3.3 ± 5.2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extLst>
                  <a:ext uri="{0D108BD9-81ED-4DB2-BD59-A6C34878D82A}">
                    <a16:rowId xmlns:a16="http://schemas.microsoft.com/office/drawing/2014/main" val="90978362"/>
                  </a:ext>
                </a:extLst>
              </a:tr>
              <a:tr h="296294">
                <a:tc>
                  <a:txBody>
                    <a:bodyPr/>
                    <a:lstStyle/>
                    <a:p>
                      <a:pPr marL="72000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ociety of Thoracic Surgeons risk score </a:t>
                      </a:r>
                      <a:r>
                        <a:rPr lang="en-GB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—</a:t>
                      </a:r>
                      <a:r>
                        <a:rPr lang="en-GB" sz="14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%</a:t>
                      </a:r>
                      <a:endParaRPr lang="nl-NL" sz="14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454" marR="26454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1 ± 1.1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2 ± 1.3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extLst>
                  <a:ext uri="{0D108BD9-81ED-4DB2-BD59-A6C34878D82A}">
                    <a16:rowId xmlns:a16="http://schemas.microsoft.com/office/drawing/2014/main" val="3009474038"/>
                  </a:ext>
                </a:extLst>
              </a:tr>
              <a:tr h="296294">
                <a:tc>
                  <a:txBody>
                    <a:bodyPr/>
                    <a:lstStyle/>
                    <a:p>
                      <a:pPr marL="72000" algn="l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e-DE" sz="1400" b="0" kern="100" spc="-1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uroSCORE II risk score </a:t>
                      </a:r>
                      <a:r>
                        <a:rPr lang="en-GB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—</a:t>
                      </a:r>
                      <a:r>
                        <a:rPr lang="de-DE" sz="1400" b="0" kern="100" spc="-1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%</a:t>
                      </a:r>
                      <a:endParaRPr lang="nl-NL" sz="1400" b="0" kern="100" spc="-1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454" marR="26454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7 ± 0.8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7 ± 1.1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extLst>
                  <a:ext uri="{0D108BD9-81ED-4DB2-BD59-A6C34878D82A}">
                    <a16:rowId xmlns:a16="http://schemas.microsoft.com/office/drawing/2014/main" val="474982892"/>
                  </a:ext>
                </a:extLst>
              </a:tr>
              <a:tr h="296294">
                <a:tc>
                  <a:txBody>
                    <a:bodyPr/>
                    <a:lstStyle/>
                    <a:p>
                      <a:pPr marL="7200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kern="100" spc="-1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w York Heart Association class III or IV </a:t>
                      </a:r>
                      <a:r>
                        <a:rPr lang="en-GB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— %</a:t>
                      </a:r>
                      <a:endParaRPr lang="nl-NL" sz="14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4.0%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9.0%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extLst>
                  <a:ext uri="{0D108BD9-81ED-4DB2-BD59-A6C34878D82A}">
                    <a16:rowId xmlns:a16="http://schemas.microsoft.com/office/drawing/2014/main" val="3612897802"/>
                  </a:ext>
                </a:extLst>
              </a:tr>
              <a:tr h="296294">
                <a:tc>
                  <a:txBody>
                    <a:bodyPr/>
                    <a:lstStyle/>
                    <a:p>
                      <a:pPr marL="7200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kern="100" spc="-1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ronary artery disease </a:t>
                      </a:r>
                      <a:r>
                        <a:rPr lang="en-GB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— %</a:t>
                      </a:r>
                      <a:endParaRPr lang="nl-NL" sz="14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9.1%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9.0%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extLst>
                  <a:ext uri="{0D108BD9-81ED-4DB2-BD59-A6C34878D82A}">
                    <a16:rowId xmlns:a16="http://schemas.microsoft.com/office/drawing/2014/main" val="569416692"/>
                  </a:ext>
                </a:extLst>
              </a:tr>
              <a:tr h="296294">
                <a:tc>
                  <a:txBody>
                    <a:bodyPr/>
                    <a:lstStyle/>
                    <a:p>
                      <a:pPr marL="72000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b="0" kern="100" spc="-1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arotid artery stenosis &gt;50% </a:t>
                      </a:r>
                      <a:r>
                        <a:rPr lang="en-GB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— %</a:t>
                      </a:r>
                      <a:endParaRPr lang="nl-NL" sz="1400" b="0" kern="100" spc="-1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454" marR="26454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9%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.9%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454" marR="26454" marT="0" marB="0"/>
                </a:tc>
                <a:extLst>
                  <a:ext uri="{0D108BD9-81ED-4DB2-BD59-A6C34878D82A}">
                    <a16:rowId xmlns:a16="http://schemas.microsoft.com/office/drawing/2014/main" val="2103903842"/>
                  </a:ext>
                </a:extLst>
              </a:tr>
            </a:tbl>
          </a:graphicData>
        </a:graphic>
      </p:graphicFrame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ACBA3F34-3EA9-2F58-706E-01DAA70CD44A}"/>
              </a:ext>
            </a:extLst>
          </p:cNvPr>
          <p:cNvGraphicFramePr>
            <a:graphicFrameLocks/>
          </p:cNvGraphicFramePr>
          <p:nvPr/>
        </p:nvGraphicFramePr>
        <p:xfrm>
          <a:off x="423332" y="3219822"/>
          <a:ext cx="6480721" cy="14698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60440">
                  <a:extLst>
                    <a:ext uri="{9D8B030D-6E8A-4147-A177-3AD203B41FA5}">
                      <a16:colId xmlns:a16="http://schemas.microsoft.com/office/drawing/2014/main" val="4017396227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2034199089"/>
                    </a:ext>
                  </a:extLst>
                </a:gridCol>
                <a:gridCol w="1296145">
                  <a:extLst>
                    <a:ext uri="{9D8B030D-6E8A-4147-A177-3AD203B41FA5}">
                      <a16:colId xmlns:a16="http://schemas.microsoft.com/office/drawing/2014/main" val="3713835416"/>
                    </a:ext>
                  </a:extLst>
                </a:gridCol>
              </a:tblGrid>
              <a:tr h="244822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b="1" kern="100" dirty="0">
                          <a:effectLst/>
                          <a:highlight>
                            <a:srgbClr val="F7CAAC"/>
                          </a:highlight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nl-NL" sz="1400" kern="100" dirty="0">
                        <a:effectLst/>
                        <a:highlight>
                          <a:srgbClr val="F7CAAC"/>
                        </a:highlight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AVI (N=215)</a:t>
                      </a:r>
                      <a:endParaRPr lang="nl-NL" sz="1400" kern="1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urgery (N=205)</a:t>
                      </a:r>
                      <a:endParaRPr lang="nl-NL" sz="1400" kern="1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extLst>
                  <a:ext uri="{0D108BD9-81ED-4DB2-BD59-A6C34878D82A}">
                    <a16:rowId xmlns:a16="http://schemas.microsoft.com/office/drawing/2014/main" val="552496789"/>
                  </a:ext>
                </a:extLst>
              </a:tr>
              <a:tr h="244822">
                <a:tc>
                  <a:txBody>
                    <a:bodyPr/>
                    <a:lstStyle/>
                    <a:p>
                      <a:pPr marL="72000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b="0" kern="10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ortic-valve area — cm</a:t>
                      </a:r>
                      <a:r>
                        <a:rPr lang="en-GB" sz="1400" b="0" kern="100" baseline="3000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GB" sz="1400" b="0" kern="10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endParaRPr lang="nl-NL" sz="14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8 ± 0.2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8 ± 0.2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extLst>
                  <a:ext uri="{0D108BD9-81ED-4DB2-BD59-A6C34878D82A}">
                    <a16:rowId xmlns:a16="http://schemas.microsoft.com/office/drawing/2014/main" val="3608347005"/>
                  </a:ext>
                </a:extLst>
              </a:tr>
              <a:tr h="244822">
                <a:tc>
                  <a:txBody>
                    <a:bodyPr/>
                    <a:lstStyle/>
                    <a:p>
                      <a:pPr marL="72000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ortic-valve gradient (mean) — mm Hg </a:t>
                      </a:r>
                      <a:endParaRPr lang="nl-NL" sz="14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7.8 ± 13.7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7.5 ± 13.8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extLst>
                  <a:ext uri="{0D108BD9-81ED-4DB2-BD59-A6C34878D82A}">
                    <a16:rowId xmlns:a16="http://schemas.microsoft.com/office/drawing/2014/main" val="2235715945"/>
                  </a:ext>
                </a:extLst>
              </a:tr>
              <a:tr h="244822">
                <a:tc>
                  <a:txBody>
                    <a:bodyPr/>
                    <a:lstStyle/>
                    <a:p>
                      <a:pPr marL="72000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eft ventricular ejection fraction — % </a:t>
                      </a:r>
                      <a:endParaRPr lang="nl-NL" sz="14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6.9 ± 9.7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8.5 ± 8.0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extLst>
                  <a:ext uri="{0D108BD9-81ED-4DB2-BD59-A6C34878D82A}">
                    <a16:rowId xmlns:a16="http://schemas.microsoft.com/office/drawing/2014/main" val="1161442616"/>
                  </a:ext>
                </a:extLst>
              </a:tr>
              <a:tr h="244822">
                <a:tc>
                  <a:txBody>
                    <a:bodyPr/>
                    <a:lstStyle/>
                    <a:p>
                      <a:pPr marL="72000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ystolic annular area on CT — mm</a:t>
                      </a:r>
                      <a:r>
                        <a:rPr lang="en-GB" sz="1400" b="0" kern="100" baseline="300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lang="nl-NL" sz="1400" b="0" kern="100" baseline="300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03.7 ± 63.1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92.8 ± 55.3</a:t>
                      </a:r>
                      <a:endParaRPr lang="nl-NL" sz="140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extLst>
                  <a:ext uri="{0D108BD9-81ED-4DB2-BD59-A6C34878D82A}">
                    <a16:rowId xmlns:a16="http://schemas.microsoft.com/office/drawing/2014/main" val="1910814384"/>
                  </a:ext>
                </a:extLst>
              </a:tr>
              <a:tr h="245783">
                <a:tc>
                  <a:txBody>
                    <a:bodyPr/>
                    <a:lstStyle/>
                    <a:p>
                      <a:pPr marL="72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mall annulus: annular area &lt; 430 mm</a:t>
                      </a:r>
                      <a:r>
                        <a:rPr lang="en-GB" sz="1400" b="0" kern="100" baseline="300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 </a:t>
                      </a:r>
                      <a:r>
                        <a:rPr lang="en-GB" sz="14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— % </a:t>
                      </a:r>
                      <a:endParaRPr lang="nl-NL" sz="1400" b="0" kern="100" baseline="300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0.4 </a:t>
                      </a:r>
                      <a:r>
                        <a:rPr lang="en-GB" sz="1400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%</a:t>
                      </a:r>
                      <a:endParaRPr lang="nl-NL" sz="1400" kern="1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5.5%</a:t>
                      </a:r>
                      <a:endParaRPr lang="nl-NL" sz="1400" kern="1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extLst>
                  <a:ext uri="{0D108BD9-81ED-4DB2-BD59-A6C34878D82A}">
                    <a16:rowId xmlns:a16="http://schemas.microsoft.com/office/drawing/2014/main" val="216366682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051509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A293AB-D9CF-9AC8-BDC2-D7A338611B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rimary Endpoint </a:t>
            </a:r>
            <a:r>
              <a:rPr lang="en-US" dirty="0"/>
              <a:t>Kaplan–Meier Estimates</a:t>
            </a:r>
            <a:endParaRPr lang="nl-NL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6D656A-E550-5BE1-B8CC-4A73B975E8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29199" y="4924044"/>
            <a:ext cx="366161" cy="219456"/>
          </a:xfrm>
        </p:spPr>
        <p:txBody>
          <a:bodyPr/>
          <a:lstStyle/>
          <a:p>
            <a:pPr algn="r" defTabSz="685800">
              <a:defRPr/>
            </a:pPr>
            <a:fld id="{CDBA9528-BCFE-1E43-A37D-912FF3C527A6}" type="slidenum">
              <a:rPr lang="en-US" sz="700">
                <a:solidFill>
                  <a:srgbClr val="505759"/>
                </a:solidFill>
                <a:latin typeface="Arial"/>
              </a:rPr>
              <a:pPr algn="r" defTabSz="685800">
                <a:defRPr/>
              </a:pPr>
              <a:t>5</a:t>
            </a:fld>
            <a:endParaRPr lang="en-US" sz="700">
              <a:solidFill>
                <a:srgbClr val="505759"/>
              </a:solidFill>
              <a:latin typeface="Arial"/>
            </a:endParaRPr>
          </a:p>
        </p:txBody>
      </p:sp>
      <p:pic>
        <p:nvPicPr>
          <p:cNvPr id="3" name="Grafik 22">
            <a:extLst>
              <a:ext uri="{FF2B5EF4-FFF2-40B4-BE49-F238E27FC236}">
                <a16:creationId xmlns:a16="http://schemas.microsoft.com/office/drawing/2014/main" id="{DCF5A26A-6E14-0A4B-A017-ECDD3FED8A0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6689" y="298120"/>
            <a:ext cx="1045544" cy="627326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7919" y="1028631"/>
            <a:ext cx="4399200" cy="293280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5347" y="1028631"/>
            <a:ext cx="4399200" cy="293280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47" b="21607"/>
          <a:stretch/>
        </p:blipFill>
        <p:spPr>
          <a:xfrm>
            <a:off x="3184652" y="1065990"/>
            <a:ext cx="4247756" cy="3017928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400"/>
          <a:stretch/>
        </p:blipFill>
        <p:spPr>
          <a:xfrm>
            <a:off x="3027919" y="3961431"/>
            <a:ext cx="4406628" cy="770559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12155D2-7ECB-8A77-8D60-367E296B5175}"/>
              </a:ext>
            </a:extLst>
          </p:cNvPr>
          <p:cNvSpPr txBox="1"/>
          <p:nvPr/>
        </p:nvSpPr>
        <p:spPr>
          <a:xfrm>
            <a:off x="3110669" y="3795886"/>
            <a:ext cx="71312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No. at risk</a:t>
            </a:r>
            <a:endParaRPr lang="nl-NL" sz="900" dirty="0"/>
          </a:p>
        </p:txBody>
      </p:sp>
      <p:sp>
        <p:nvSpPr>
          <p:cNvPr id="13" name="TextBox 7">
            <a:extLst>
              <a:ext uri="{FF2B5EF4-FFF2-40B4-BE49-F238E27FC236}">
                <a16:creationId xmlns:a16="http://schemas.microsoft.com/office/drawing/2014/main" id="{2C93E840-8299-4651-6693-EB1FB23AD2F3}"/>
              </a:ext>
            </a:extLst>
          </p:cNvPr>
          <p:cNvSpPr txBox="1"/>
          <p:nvPr/>
        </p:nvSpPr>
        <p:spPr>
          <a:xfrm>
            <a:off x="6858597" y="2253521"/>
            <a:ext cx="737739" cy="2385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50" dirty="0">
                <a:solidFill>
                  <a:srgbClr val="3E6AE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.9 %</a:t>
            </a:r>
            <a:endParaRPr lang="cs-CZ" sz="950" dirty="0">
              <a:solidFill>
                <a:srgbClr val="3E6AE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5">
            <a:extLst>
              <a:ext uri="{FF2B5EF4-FFF2-40B4-BE49-F238E27FC236}">
                <a16:creationId xmlns:a16="http://schemas.microsoft.com/office/drawing/2014/main" id="{DC76F3FA-9243-DC00-4D7C-7CA5695E750C}"/>
              </a:ext>
            </a:extLst>
          </p:cNvPr>
          <p:cNvSpPr txBox="1"/>
          <p:nvPr/>
        </p:nvSpPr>
        <p:spPr>
          <a:xfrm>
            <a:off x="6788769" y="1461727"/>
            <a:ext cx="737739" cy="2385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50" dirty="0">
                <a:solidFill>
                  <a:srgbClr val="B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.6 %</a:t>
            </a:r>
            <a:endParaRPr lang="cs-CZ" sz="950" dirty="0">
              <a:solidFill>
                <a:srgbClr val="B2222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8813B64-A05A-239E-2CB8-34F35505E6A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16808" y="337665"/>
            <a:ext cx="978551" cy="58713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32AD314-7AD0-21DC-AA02-430573E98184}"/>
              </a:ext>
            </a:extLst>
          </p:cNvPr>
          <p:cNvSpPr txBox="1"/>
          <p:nvPr/>
        </p:nvSpPr>
        <p:spPr>
          <a:xfrm>
            <a:off x="3926108" y="1182069"/>
            <a:ext cx="648072" cy="4308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38700" indent="0" algn="l" defTabSz="3600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None/>
            </a:pPr>
            <a:r>
              <a:rPr lang="en-US" sz="1000" i="0" kern="1200" dirty="0">
                <a:solidFill>
                  <a:schemeClr val="tx1"/>
                </a:solidFill>
                <a:latin typeface="+mn-lt"/>
                <a:ea typeface="+mn-ea"/>
              </a:rPr>
              <a:t>Surgery</a:t>
            </a:r>
          </a:p>
          <a:p>
            <a:pPr marL="38700" indent="0" algn="l" defTabSz="3600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None/>
            </a:pPr>
            <a:r>
              <a:rPr lang="en-US" sz="1000" i="0" kern="1200" dirty="0">
                <a:solidFill>
                  <a:schemeClr val="tx1"/>
                </a:solidFill>
                <a:latin typeface="+mn-lt"/>
                <a:ea typeface="+mn-ea"/>
              </a:rPr>
              <a:t>TAVI</a:t>
            </a:r>
            <a:endParaRPr lang="nl-NL" sz="1000" i="0" kern="120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1CF8112-441A-38D4-2AE7-A80D01513831}"/>
              </a:ext>
            </a:extLst>
          </p:cNvPr>
          <p:cNvSpPr txBox="1"/>
          <p:nvPr/>
        </p:nvSpPr>
        <p:spPr>
          <a:xfrm>
            <a:off x="3027918" y="4010922"/>
            <a:ext cx="538149" cy="397032"/>
          </a:xfrm>
          <a:prstGeom prst="rect">
            <a:avLst/>
          </a:prstGeom>
          <a:solidFill>
            <a:schemeClr val="bg1"/>
          </a:solidFill>
        </p:spPr>
        <p:txBody>
          <a:bodyPr wrap="square" lIns="36000" rIns="36000" rtlCol="0">
            <a:spAutoFit/>
          </a:bodyPr>
          <a:lstStyle/>
          <a:p>
            <a:pPr marL="38700" indent="0" algn="r" defTabSz="3600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None/>
            </a:pPr>
            <a:r>
              <a:rPr lang="en-US" sz="900" i="0" kern="1200" dirty="0">
                <a:solidFill>
                  <a:srgbClr val="C00000"/>
                </a:solidFill>
                <a:latin typeface="+mn-lt"/>
                <a:ea typeface="+mn-ea"/>
              </a:rPr>
              <a:t>Surgery</a:t>
            </a:r>
          </a:p>
          <a:p>
            <a:pPr marL="38700" indent="0" algn="r" defTabSz="3600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None/>
            </a:pPr>
            <a:r>
              <a:rPr lang="en-US" sz="900" i="0" kern="1200" dirty="0">
                <a:solidFill>
                  <a:srgbClr val="3366CC"/>
                </a:solidFill>
                <a:latin typeface="+mn-lt"/>
                <a:ea typeface="+mn-ea"/>
              </a:rPr>
              <a:t>TAVI</a:t>
            </a:r>
            <a:endParaRPr lang="nl-NL" sz="900" i="0" kern="1200" dirty="0">
              <a:solidFill>
                <a:srgbClr val="3366CC"/>
              </a:solidFill>
              <a:latin typeface="+mn-lt"/>
              <a:ea typeface="+mn-ea"/>
            </a:endParaRPr>
          </a:p>
        </p:txBody>
      </p:sp>
      <p:grpSp>
        <p:nvGrpSpPr>
          <p:cNvPr id="15" name="Group 11">
            <a:extLst>
              <a:ext uri="{FF2B5EF4-FFF2-40B4-BE49-F238E27FC236}">
                <a16:creationId xmlns:a16="http://schemas.microsoft.com/office/drawing/2014/main" id="{5A0D5250-67F8-48C3-4B98-8B358F7BAA4A}"/>
              </a:ext>
            </a:extLst>
          </p:cNvPr>
          <p:cNvGrpSpPr/>
          <p:nvPr/>
        </p:nvGrpSpPr>
        <p:grpSpPr>
          <a:xfrm>
            <a:off x="338313" y="1419622"/>
            <a:ext cx="2225774" cy="715581"/>
            <a:chOff x="1879966" y="4474174"/>
            <a:chExt cx="2967699" cy="954108"/>
          </a:xfrm>
        </p:grpSpPr>
        <p:sp>
          <p:nvSpPr>
            <p:cNvPr id="16" name="TextBox 2">
              <a:extLst>
                <a:ext uri="{FF2B5EF4-FFF2-40B4-BE49-F238E27FC236}">
                  <a16:creationId xmlns:a16="http://schemas.microsoft.com/office/drawing/2014/main" id="{D68B2731-406E-C4B0-7A88-1FBC61ABC14F}"/>
                </a:ext>
              </a:extLst>
            </p:cNvPr>
            <p:cNvSpPr txBox="1"/>
            <p:nvPr/>
          </p:nvSpPr>
          <p:spPr>
            <a:xfrm>
              <a:off x="1879966" y="4751173"/>
              <a:ext cx="2967699" cy="4001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50" b="1" dirty="0"/>
                <a:t>NON-INFERIORITY</a:t>
              </a:r>
            </a:p>
          </p:txBody>
        </p:sp>
        <p:sp>
          <p:nvSpPr>
            <p:cNvPr id="17" name="TextBox 3">
              <a:extLst>
                <a:ext uri="{FF2B5EF4-FFF2-40B4-BE49-F238E27FC236}">
                  <a16:creationId xmlns:a16="http://schemas.microsoft.com/office/drawing/2014/main" id="{B76C183B-8DF3-9274-86FD-73F36B5EE4F3}"/>
                </a:ext>
              </a:extLst>
            </p:cNvPr>
            <p:cNvSpPr txBox="1"/>
            <p:nvPr/>
          </p:nvSpPr>
          <p:spPr>
            <a:xfrm flipH="1">
              <a:off x="3940496" y="4474174"/>
              <a:ext cx="541561" cy="95410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nl-NL" sz="4050" b="1" dirty="0">
                  <a:solidFill>
                    <a:srgbClr val="00B050"/>
                  </a:solidFill>
                  <a:sym typeface="Wingdings" panose="05000000000000000000" pitchFamily="2" charset="2"/>
                </a:rPr>
                <a:t></a:t>
              </a:r>
              <a:endParaRPr lang="nl-NL" sz="4050" b="1" dirty="0">
                <a:solidFill>
                  <a:srgbClr val="00B050"/>
                </a:solidFill>
              </a:endParaRPr>
            </a:p>
          </p:txBody>
        </p:sp>
      </p:grpSp>
      <p:grpSp>
        <p:nvGrpSpPr>
          <p:cNvPr id="18" name="Group 14">
            <a:extLst>
              <a:ext uri="{FF2B5EF4-FFF2-40B4-BE49-F238E27FC236}">
                <a16:creationId xmlns:a16="http://schemas.microsoft.com/office/drawing/2014/main" id="{558ADF81-EDC6-B89E-711D-DFFE002DE275}"/>
              </a:ext>
            </a:extLst>
          </p:cNvPr>
          <p:cNvGrpSpPr/>
          <p:nvPr/>
        </p:nvGrpSpPr>
        <p:grpSpPr>
          <a:xfrm>
            <a:off x="338312" y="2067694"/>
            <a:ext cx="1928084" cy="715581"/>
            <a:chOff x="338312" y="2432233"/>
            <a:chExt cx="1928084" cy="715581"/>
          </a:xfrm>
        </p:grpSpPr>
        <p:sp>
          <p:nvSpPr>
            <p:cNvPr id="19" name="TextBox 4">
              <a:extLst>
                <a:ext uri="{FF2B5EF4-FFF2-40B4-BE49-F238E27FC236}">
                  <a16:creationId xmlns:a16="http://schemas.microsoft.com/office/drawing/2014/main" id="{06700725-6895-8879-8309-20AE4232D8D2}"/>
                </a:ext>
              </a:extLst>
            </p:cNvPr>
            <p:cNvSpPr txBox="1"/>
            <p:nvPr/>
          </p:nvSpPr>
          <p:spPr>
            <a:xfrm flipH="1">
              <a:off x="1860224" y="2432233"/>
              <a:ext cx="406172" cy="71558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nl-NL" sz="4050" b="1" dirty="0">
                  <a:solidFill>
                    <a:srgbClr val="00B050"/>
                  </a:solidFill>
                  <a:sym typeface="Wingdings" panose="05000000000000000000" pitchFamily="2" charset="2"/>
                </a:rPr>
                <a:t></a:t>
              </a:r>
              <a:endParaRPr lang="nl-NL" sz="4050" b="1" dirty="0">
                <a:solidFill>
                  <a:srgbClr val="00B050"/>
                </a:solidFill>
              </a:endParaRPr>
            </a:p>
          </p:txBody>
        </p:sp>
        <p:sp>
          <p:nvSpPr>
            <p:cNvPr id="20" name="TextBox 10">
              <a:extLst>
                <a:ext uri="{FF2B5EF4-FFF2-40B4-BE49-F238E27FC236}">
                  <a16:creationId xmlns:a16="http://schemas.microsoft.com/office/drawing/2014/main" id="{22EB8B3C-209A-5E4F-76C0-7156EBECEB72}"/>
                </a:ext>
              </a:extLst>
            </p:cNvPr>
            <p:cNvSpPr txBox="1"/>
            <p:nvPr/>
          </p:nvSpPr>
          <p:spPr>
            <a:xfrm>
              <a:off x="338312" y="2631708"/>
              <a:ext cx="1462214" cy="3000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50" b="1" dirty="0"/>
                <a:t>SUPERIORITY</a:t>
              </a:r>
              <a:endParaRPr lang="nl-NL" sz="135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29338133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  <p:bldP spid="14" grpId="0"/>
      <p:bldP spid="9" grpId="0" animBg="1"/>
      <p:bldP spid="11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B25D73-FDC7-63AB-C8EE-B31FB8D4FB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528" y="93730"/>
            <a:ext cx="7886700" cy="409592"/>
          </a:xfrm>
        </p:spPr>
        <p:txBody>
          <a:bodyPr/>
          <a:lstStyle/>
          <a:p>
            <a:r>
              <a:rPr lang="en-US" dirty="0"/>
              <a:t>Primary Endpoint Components at 1 year</a:t>
            </a:r>
            <a:endParaRPr lang="nl-NL" dirty="0"/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7B40AD03-C4D7-9236-5CAD-32C74247BFE0}"/>
              </a:ext>
            </a:extLst>
          </p:cNvPr>
          <p:cNvGraphicFramePr>
            <a:graphicFrameLocks noGrp="1"/>
          </p:cNvGraphicFramePr>
          <p:nvPr>
            <p:ph idx="4294967295"/>
          </p:nvPr>
        </p:nvGraphicFramePr>
        <p:xfrm>
          <a:off x="251520" y="627534"/>
          <a:ext cx="7221271" cy="21760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4216">
                  <a:extLst>
                    <a:ext uri="{9D8B030D-6E8A-4147-A177-3AD203B41FA5}">
                      <a16:colId xmlns:a16="http://schemas.microsoft.com/office/drawing/2014/main" val="2016099695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val="3111778796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2813665678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1426356282"/>
                    </a:ext>
                  </a:extLst>
                </a:gridCol>
                <a:gridCol w="1028583">
                  <a:extLst>
                    <a:ext uri="{9D8B030D-6E8A-4147-A177-3AD203B41FA5}">
                      <a16:colId xmlns:a16="http://schemas.microsoft.com/office/drawing/2014/main" val="2127403973"/>
                    </a:ext>
                  </a:extLst>
                </a:gridCol>
              </a:tblGrid>
              <a:tr h="385113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b="1" kern="100" dirty="0">
                          <a:solidFill>
                            <a:schemeClr val="tx1"/>
                          </a:solidFill>
                          <a:effectLst/>
                          <a:highlight>
                            <a:srgbClr val="F7CAAC"/>
                          </a:highlight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nl-NL" sz="1400" b="1" kern="100" dirty="0">
                        <a:solidFill>
                          <a:schemeClr val="tx1"/>
                        </a:solidFill>
                        <a:effectLst/>
                        <a:highlight>
                          <a:srgbClr val="F7CAAC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AVI (N=215)</a:t>
                      </a:r>
                      <a:endParaRPr lang="nl-NL" sz="1400" kern="100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00" dirty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urgery (N=205)</a:t>
                      </a:r>
                      <a:endParaRPr lang="nl-NL" sz="1400" kern="100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 anchor="ctr"/>
                </a:tc>
                <a:tc>
                  <a:txBody>
                    <a:bodyPr/>
                    <a:lstStyle/>
                    <a:p>
                      <a:pPr marL="0" marR="63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kern="100" dirty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AVI- Surgery</a:t>
                      </a:r>
                      <a:endParaRPr lang="nl-NL" sz="1400" kern="100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63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l-NL" sz="1400" kern="100" dirty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-Value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36004905"/>
                  </a:ext>
                </a:extLst>
              </a:tr>
              <a:tr h="313970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lang="en-US" sz="1400" b="1" kern="100" spc="-1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eath</a:t>
                      </a:r>
                      <a:endParaRPr lang="nl-NL" sz="1400" b="1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 (0.9%)</a:t>
                      </a:r>
                      <a:endParaRPr lang="nl-NL" sz="1400" b="1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 (2.0%)</a:t>
                      </a:r>
                      <a:endParaRPr lang="nl-NL" sz="1400" b="1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1.0% [-3.3%, 1.3%]</a:t>
                      </a:r>
                      <a:endParaRPr lang="nl-NL" sz="1400" b="1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l-NL" sz="12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</a:t>
                      </a:r>
                      <a:r>
                        <a:rPr lang="cs-CZ" sz="12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4</a:t>
                      </a:r>
                      <a:endParaRPr lang="nl-NL" sz="1200" b="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924931976"/>
                  </a:ext>
                </a:extLst>
              </a:tr>
              <a:tr h="313970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lang="en-US" sz="1400" b="1" kern="100" spc="-1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roke</a:t>
                      </a:r>
                      <a:endParaRPr lang="nl-NL" sz="1400" b="1" kern="100" spc="-1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00" spc="-1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 (3.3%)</a:t>
                      </a:r>
                      <a:endParaRPr lang="nl-NL" sz="1400" b="1" kern="100" spc="-1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00" spc="-1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 (3.0%)</a:t>
                      </a:r>
                      <a:endParaRPr lang="nl-NL" sz="1400" b="1" kern="100" spc="-1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00" spc="-1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3% [-3.0%, 3.7%]</a:t>
                      </a:r>
                      <a:endParaRPr lang="nl-NL" sz="1400" b="1" kern="100" spc="-1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00</a:t>
                      </a:r>
                      <a:endParaRPr lang="nl-NL" sz="1200" b="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796543988"/>
                  </a:ext>
                </a:extLst>
              </a:tr>
              <a:tr h="1163000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lang="en-US" sz="1400" b="1" kern="100" spc="-1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Rehospitalization</a:t>
                      </a:r>
                      <a:r>
                        <a:rPr lang="en-US" sz="1400" kern="100" spc="-1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br>
                        <a:rPr lang="en-US" sz="1400" kern="100" spc="-1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GB" sz="14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alve-related or procedure-related or worsening congestive heart failure</a:t>
                      </a:r>
                      <a:endParaRPr lang="nl-NL" sz="14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0 (4.8%)</a:t>
                      </a:r>
                      <a:endParaRPr lang="nl-NL" sz="1400" b="1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3 (11.4%)</a:t>
                      </a:r>
                      <a:endParaRPr lang="nl-NL" sz="1400" b="1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6.6% [-11.9%, -1.4%]</a:t>
                      </a:r>
                      <a:endParaRPr lang="nl-NL" sz="1400" b="1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 b="1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</a:t>
                      </a:r>
                      <a:r>
                        <a:rPr lang="cs-CZ" sz="1200" b="1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2</a:t>
                      </a:r>
                      <a:endParaRPr lang="nl-NL" sz="1200" b="1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78115137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696D9ABA-2B93-7D2F-40B7-299B269DF4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16808" y="337665"/>
            <a:ext cx="978551" cy="587131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7F3571B9-B20B-05EF-DCA6-9A1FEA884723}"/>
              </a:ext>
            </a:extLst>
          </p:cNvPr>
          <p:cNvSpPr txBox="1">
            <a:spLocks/>
          </p:cNvSpPr>
          <p:nvPr/>
        </p:nvSpPr>
        <p:spPr bwMode="gray">
          <a:xfrm>
            <a:off x="323528" y="2927799"/>
            <a:ext cx="7886700" cy="40959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b="1" i="0" kern="1200" smtClean="0">
                <a:solidFill>
                  <a:schemeClr val="accent1"/>
                </a:solidFill>
                <a:latin typeface="+mj-lt"/>
                <a:ea typeface="+mn-ea"/>
                <a:cs typeface="Verdana"/>
              </a:defRPr>
            </a:lvl1pPr>
          </a:lstStyle>
          <a:p>
            <a:r>
              <a:rPr lang="en-US" dirty="0"/>
              <a:t>Key Secondary Endpoints at 1 year</a:t>
            </a:r>
          </a:p>
        </p:txBody>
      </p:sp>
      <p:graphicFrame>
        <p:nvGraphicFramePr>
          <p:cNvPr id="3" name="Content Placeholder 3">
            <a:extLst>
              <a:ext uri="{FF2B5EF4-FFF2-40B4-BE49-F238E27FC236}">
                <a16:creationId xmlns:a16="http://schemas.microsoft.com/office/drawing/2014/main" id="{B20D6B94-A375-D6D2-2C32-50E176DA8FE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94991325"/>
              </p:ext>
            </p:extLst>
          </p:nvPr>
        </p:nvGraphicFramePr>
        <p:xfrm>
          <a:off x="255722" y="3507854"/>
          <a:ext cx="7920881" cy="11273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03896">
                  <a:extLst>
                    <a:ext uri="{9D8B030D-6E8A-4147-A177-3AD203B41FA5}">
                      <a16:colId xmlns:a16="http://schemas.microsoft.com/office/drawing/2014/main" val="310980578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val="4030583724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31204417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3528935546"/>
                    </a:ext>
                  </a:extLst>
                </a:gridCol>
                <a:gridCol w="900561">
                  <a:extLst>
                    <a:ext uri="{9D8B030D-6E8A-4147-A177-3AD203B41FA5}">
                      <a16:colId xmlns:a16="http://schemas.microsoft.com/office/drawing/2014/main" val="1089305124"/>
                    </a:ext>
                  </a:extLst>
                </a:gridCol>
              </a:tblGrid>
              <a:tr h="36297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200" b="1" kern="100" dirty="0">
                          <a:solidFill>
                            <a:schemeClr val="tx1"/>
                          </a:solidFill>
                          <a:effectLst/>
                          <a:highlight>
                            <a:srgbClr val="F7CAAC"/>
                          </a:highlight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nl-NL" sz="1200" b="1" kern="100" dirty="0">
                        <a:solidFill>
                          <a:schemeClr val="tx1"/>
                        </a:solidFill>
                        <a:effectLst/>
                        <a:highlight>
                          <a:srgbClr val="F7CAAC"/>
                        </a:highlight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6794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200" b="1" kern="1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AVI (N=215)</a:t>
                      </a:r>
                      <a:endParaRPr lang="nl-NL" sz="1200" b="1" kern="1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 anchor="ctr"/>
                </a:tc>
                <a:tc>
                  <a:txBody>
                    <a:bodyPr/>
                    <a:lstStyle/>
                    <a:p>
                      <a:pPr marL="6794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200" b="1" kern="1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urgery (N=205)</a:t>
                      </a:r>
                      <a:endParaRPr lang="nl-NL" sz="1200" b="1" kern="1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 anchor="ctr"/>
                </a:tc>
                <a:tc>
                  <a:txBody>
                    <a:bodyPr/>
                    <a:lstStyle/>
                    <a:p>
                      <a:pPr marL="67945" marR="63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1" kern="1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AVI - Surgery</a:t>
                      </a:r>
                      <a:endParaRPr lang="nl-NL" sz="1200" b="1" kern="1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63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l-NL" sz="1200" kern="1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-Value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72581881"/>
                  </a:ext>
                </a:extLst>
              </a:tr>
              <a:tr h="253861">
                <a:tc>
                  <a:txBody>
                    <a:bodyPr/>
                    <a:lstStyle/>
                    <a:p>
                      <a:pPr marL="67945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ajor vascular complications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63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 (3.3%)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63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 (0.5%)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63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8% [0.2%, 5.3%]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l-NL" sz="12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</a:t>
                      </a:r>
                      <a:r>
                        <a:rPr lang="cs-CZ" sz="12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7</a:t>
                      </a:r>
                      <a:endParaRPr lang="nl-NL" sz="1200" b="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777370580"/>
                  </a:ext>
                </a:extLst>
              </a:tr>
              <a:tr h="253861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w</a:t>
                      </a:r>
                      <a:r>
                        <a:rPr lang="en-US" sz="1200" b="0" kern="100" spc="-25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manent</a:t>
                      </a:r>
                      <a:r>
                        <a:rPr lang="en-US" sz="1200" b="0" kern="100" spc="-2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200" b="0" kern="100" spc="-1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cemaker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9 (8.8%)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 (2.9%)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.9% [1.5%, 10.4%]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 b="1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</a:t>
                      </a:r>
                      <a:r>
                        <a:rPr lang="cs-CZ" sz="1200" b="1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1</a:t>
                      </a:r>
                      <a:endParaRPr lang="nl-NL" sz="1200" b="1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204401174"/>
                  </a:ext>
                </a:extLst>
              </a:tr>
              <a:tr h="253861">
                <a:tc>
                  <a:txBody>
                    <a:bodyPr/>
                    <a:lstStyle/>
                    <a:p>
                      <a:pPr marL="67945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w onset atrial fibrillation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127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 (3.3%)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127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9 (28.8%)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127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25.5% [-32.2%, -18.9%]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&lt;</a:t>
                      </a:r>
                      <a:r>
                        <a:rPr lang="nl-NL" sz="1200" b="1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</a:t>
                      </a:r>
                      <a:r>
                        <a:rPr lang="cs-CZ" sz="1200" b="1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01</a:t>
                      </a:r>
                      <a:endParaRPr lang="nl-NL" sz="1200" b="1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62250295"/>
                  </a:ext>
                </a:extLst>
              </a:tr>
            </a:tbl>
          </a:graphicData>
        </a:graphic>
      </p:graphicFrame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72B78692-418F-8CB7-7565-71C6F3C33D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92145048"/>
              </p:ext>
            </p:extLst>
          </p:nvPr>
        </p:nvGraphicFramePr>
        <p:xfrm>
          <a:off x="251520" y="3507854"/>
          <a:ext cx="7920881" cy="11273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03896">
                  <a:extLst>
                    <a:ext uri="{9D8B030D-6E8A-4147-A177-3AD203B41FA5}">
                      <a16:colId xmlns:a16="http://schemas.microsoft.com/office/drawing/2014/main" val="310980578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val="4030583724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31204417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3528935546"/>
                    </a:ext>
                  </a:extLst>
                </a:gridCol>
                <a:gridCol w="900561">
                  <a:extLst>
                    <a:ext uri="{9D8B030D-6E8A-4147-A177-3AD203B41FA5}">
                      <a16:colId xmlns:a16="http://schemas.microsoft.com/office/drawing/2014/main" val="1089305124"/>
                    </a:ext>
                  </a:extLst>
                </a:gridCol>
              </a:tblGrid>
              <a:tr h="36297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200" b="1" kern="100" dirty="0">
                          <a:solidFill>
                            <a:schemeClr val="tx1"/>
                          </a:solidFill>
                          <a:effectLst/>
                          <a:highlight>
                            <a:srgbClr val="F7CAAC"/>
                          </a:highlight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nl-NL" sz="1200" b="1" kern="100" dirty="0">
                        <a:solidFill>
                          <a:schemeClr val="tx1"/>
                        </a:solidFill>
                        <a:effectLst/>
                        <a:highlight>
                          <a:srgbClr val="F7CAAC"/>
                        </a:highlight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/>
                </a:tc>
                <a:tc>
                  <a:txBody>
                    <a:bodyPr/>
                    <a:lstStyle/>
                    <a:p>
                      <a:pPr marL="6794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200" b="1" kern="1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AVI (N=215)</a:t>
                      </a:r>
                      <a:endParaRPr lang="nl-NL" sz="1200" b="1" kern="1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 anchor="ctr"/>
                </a:tc>
                <a:tc>
                  <a:txBody>
                    <a:bodyPr/>
                    <a:lstStyle/>
                    <a:p>
                      <a:pPr marL="6794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200" b="1" kern="1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urgery (N=205)</a:t>
                      </a:r>
                      <a:endParaRPr lang="nl-NL" sz="1200" b="1" kern="1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7553" marR="27553" marT="0" marB="0" anchor="ctr"/>
                </a:tc>
                <a:tc>
                  <a:txBody>
                    <a:bodyPr/>
                    <a:lstStyle/>
                    <a:p>
                      <a:pPr marL="67945" marR="63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1" kern="1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AVI - Surgery</a:t>
                      </a:r>
                      <a:endParaRPr lang="nl-NL" sz="1200" b="1" kern="1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63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l-NL" sz="1200" kern="1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-Value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72581881"/>
                  </a:ext>
                </a:extLst>
              </a:tr>
              <a:tr h="253861">
                <a:tc>
                  <a:txBody>
                    <a:bodyPr/>
                    <a:lstStyle/>
                    <a:p>
                      <a:pPr marL="67945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ajor vascular complications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63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 (3.3%)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63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 (0.5%)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67945" marR="635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8% [0.2%, 5.3%]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l-NL" sz="12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</a:t>
                      </a:r>
                      <a:r>
                        <a:rPr lang="cs-CZ" sz="1200" b="0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7</a:t>
                      </a:r>
                      <a:endParaRPr lang="nl-NL" sz="1200" b="0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777370580"/>
                  </a:ext>
                </a:extLst>
              </a:tr>
              <a:tr h="253861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w</a:t>
                      </a:r>
                      <a:r>
                        <a:rPr lang="en-US" sz="1200" b="0" kern="100" spc="-25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manent</a:t>
                      </a:r>
                      <a:r>
                        <a:rPr lang="en-US" sz="1200" b="0" kern="100" spc="-2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200" b="0" kern="100" spc="-1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cemaker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9 (8.8%)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 (2.9%)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620" marR="63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.9% [1.5%, 10.4%]</a:t>
                      </a:r>
                      <a:endParaRPr lang="nl-NL" sz="1200" b="0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620" marR="635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 b="1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</a:t>
                      </a:r>
                      <a:r>
                        <a:rPr lang="cs-CZ" sz="1200" b="1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1</a:t>
                      </a:r>
                      <a:endParaRPr lang="nl-NL" sz="1200" b="1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4401174"/>
                  </a:ext>
                </a:extLst>
              </a:tr>
              <a:tr h="253861">
                <a:tc>
                  <a:txBody>
                    <a:bodyPr/>
                    <a:lstStyle/>
                    <a:p>
                      <a:pPr marL="67945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w onset atrial fibrillation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7945" marR="127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 (3.3%)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7945" marR="127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9 (28.8%)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67945" marR="127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25.5% [-32.2%, -18.9%]</a:t>
                      </a:r>
                      <a:endParaRPr lang="nl-NL" sz="1200" b="0" kern="1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620" marR="635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&lt;</a:t>
                      </a:r>
                      <a:r>
                        <a:rPr lang="nl-NL" sz="1200" b="1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</a:t>
                      </a:r>
                      <a:r>
                        <a:rPr lang="cs-CZ" sz="1200" b="1" kern="1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01</a:t>
                      </a:r>
                      <a:endParaRPr lang="nl-NL" sz="1200" b="1" kern="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2502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26754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B98380-EF30-286B-213D-A62EDBF880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Other Secondary Endpoints</a:t>
            </a:r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F9E95EE1-77E5-2D00-E154-536F6AC49292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083422076"/>
              </p:ext>
            </p:extLst>
          </p:nvPr>
        </p:nvGraphicFramePr>
        <p:xfrm>
          <a:off x="549275" y="1189038"/>
          <a:ext cx="3930650" cy="3475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Content Placeholder 7">
            <a:extLst>
              <a:ext uri="{FF2B5EF4-FFF2-40B4-BE49-F238E27FC236}">
                <a16:creationId xmlns:a16="http://schemas.microsoft.com/office/drawing/2014/main" id="{F2F398A0-7213-5FCD-A224-F86F5610EC73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016656314"/>
              </p:ext>
            </p:extLst>
          </p:nvPr>
        </p:nvGraphicFramePr>
        <p:xfrm>
          <a:off x="4664075" y="1189038"/>
          <a:ext cx="3930650" cy="3475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04AA462A-7162-D349-7C2E-5748D35FB8F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16808" y="337665"/>
            <a:ext cx="978551" cy="587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3645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0E009B-AC01-975A-8EF9-379611DC0C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 defTabSz="685800">
              <a:defRPr/>
            </a:pPr>
            <a:fld id="{CDBA9528-BCFE-1E43-A37D-912FF3C527A6}" type="slidenum">
              <a:rPr lang="en-US" sz="700">
                <a:solidFill>
                  <a:srgbClr val="505759"/>
                </a:solidFill>
                <a:latin typeface="Arial"/>
              </a:rPr>
              <a:pPr algn="r" defTabSz="685800">
                <a:defRPr/>
              </a:pPr>
              <a:t>8</a:t>
            </a:fld>
            <a:endParaRPr lang="en-US" sz="700">
              <a:solidFill>
                <a:srgbClr val="505759"/>
              </a:solidFill>
              <a:latin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240870-E3A8-8021-E801-E00969B84B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chocardiography findings</a:t>
            </a:r>
            <a:endParaRPr lang="nl-NL" dirty="0"/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822C15C5-0C79-416F-3BC3-CE1DBE07B978}"/>
              </a:ext>
            </a:extLst>
          </p:cNvPr>
          <p:cNvSpPr txBox="1">
            <a:spLocks/>
          </p:cNvSpPr>
          <p:nvPr/>
        </p:nvSpPr>
        <p:spPr bwMode="gray">
          <a:xfrm>
            <a:off x="1625665" y="925446"/>
            <a:ext cx="1964224" cy="35037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b="1" i="0" kern="1200" smtClean="0">
                <a:solidFill>
                  <a:schemeClr val="accent1"/>
                </a:solidFill>
                <a:latin typeface="+mj-lt"/>
                <a:ea typeface="+mn-ea"/>
                <a:cs typeface="Verdana"/>
              </a:defRPr>
            </a:lvl1pPr>
          </a:lstStyle>
          <a:p>
            <a:r>
              <a:rPr lang="nl-NL" sz="2000" dirty="0">
                <a:solidFill>
                  <a:schemeClr val="tx1"/>
                </a:solidFill>
              </a:rPr>
              <a:t>Mean Gradient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822C15C5-0C79-416F-3BC3-CE1DBE07B978}"/>
              </a:ext>
            </a:extLst>
          </p:cNvPr>
          <p:cNvSpPr txBox="1">
            <a:spLocks/>
          </p:cNvSpPr>
          <p:nvPr/>
        </p:nvSpPr>
        <p:spPr bwMode="gray">
          <a:xfrm>
            <a:off x="5868144" y="938383"/>
            <a:ext cx="2108474" cy="40959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b="1" i="0" kern="1200" smtClean="0">
                <a:solidFill>
                  <a:schemeClr val="accent1"/>
                </a:solidFill>
                <a:latin typeface="+mj-lt"/>
                <a:ea typeface="+mn-ea"/>
                <a:cs typeface="Verdana"/>
              </a:defRPr>
            </a:lvl1pPr>
          </a:lstStyle>
          <a:p>
            <a:r>
              <a:rPr lang="nl-NL" sz="2000" dirty="0">
                <a:solidFill>
                  <a:schemeClr val="tx1"/>
                </a:solidFill>
              </a:rPr>
              <a:t>Aortic Valve Area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37F51A1-174E-6989-4063-30BB391FD8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6808" y="337665"/>
            <a:ext cx="978551" cy="587131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BAF042C6-B018-2AF6-8498-2A89F54FD1A0}"/>
              </a:ext>
            </a:extLst>
          </p:cNvPr>
          <p:cNvGrpSpPr/>
          <p:nvPr/>
        </p:nvGrpSpPr>
        <p:grpSpPr>
          <a:xfrm>
            <a:off x="266400" y="958684"/>
            <a:ext cx="4260913" cy="3783759"/>
            <a:chOff x="266400" y="958684"/>
            <a:chExt cx="4260913" cy="3783759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DB5CF792-CB86-2E23-10A8-3C51F1FB2BA7}"/>
                </a:ext>
              </a:extLst>
            </p:cNvPr>
            <p:cNvGrpSpPr/>
            <p:nvPr/>
          </p:nvGrpSpPr>
          <p:grpSpPr>
            <a:xfrm>
              <a:off x="395536" y="958684"/>
              <a:ext cx="4131777" cy="3197242"/>
              <a:chOff x="395536" y="958684"/>
              <a:chExt cx="4131777" cy="3701298"/>
            </a:xfrm>
          </p:grpSpPr>
          <p:pic>
            <p:nvPicPr>
              <p:cNvPr id="7" name="Grafik 6"/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270" b="6148"/>
              <a:stretch/>
            </p:blipFill>
            <p:spPr>
              <a:xfrm>
                <a:off x="395536" y="958684"/>
                <a:ext cx="4131777" cy="3701298"/>
              </a:xfrm>
              <a:prstGeom prst="rect">
                <a:avLst/>
              </a:prstGeom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14E9282C-0997-3450-E304-917F8D303549}"/>
                  </a:ext>
                </a:extLst>
              </p:cNvPr>
              <p:cNvSpPr txBox="1"/>
              <p:nvPr/>
            </p:nvSpPr>
            <p:spPr>
              <a:xfrm>
                <a:off x="3275856" y="1745096"/>
                <a:ext cx="538149" cy="43088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36000" rIns="36000" rtlCol="0">
                <a:spAutoFit/>
              </a:bodyPr>
              <a:lstStyle/>
              <a:p>
                <a:pPr marL="38700" indent="0" defTabSz="360000" rtl="0" eaLnBrk="1" latinLnBrk="0" hangingPunct="1">
                  <a:spcBef>
                    <a:spcPct val="20000"/>
                  </a:spcBef>
                  <a:buClr>
                    <a:srgbClr val="C00000"/>
                  </a:buClr>
                  <a:buFont typeface="Arial" panose="020B0604020202020204" pitchFamily="34" charset="0"/>
                  <a:buNone/>
                </a:pPr>
                <a:r>
                  <a:rPr lang="en-US" sz="1000" b="1" i="0" kern="1200" dirty="0">
                    <a:latin typeface="+mn-lt"/>
                    <a:ea typeface="+mn-ea"/>
                  </a:rPr>
                  <a:t>Surgery</a:t>
                </a:r>
              </a:p>
              <a:p>
                <a:pPr marL="38700" indent="0" defTabSz="360000" rtl="0" eaLnBrk="1" latinLnBrk="0" hangingPunct="1">
                  <a:spcBef>
                    <a:spcPct val="20000"/>
                  </a:spcBef>
                  <a:buClr>
                    <a:srgbClr val="C00000"/>
                  </a:buClr>
                  <a:buFont typeface="Arial" panose="020B0604020202020204" pitchFamily="34" charset="0"/>
                  <a:buNone/>
                </a:pPr>
                <a:r>
                  <a:rPr lang="en-US" sz="1000" b="1" i="0" kern="1200" dirty="0">
                    <a:latin typeface="+mn-lt"/>
                    <a:ea typeface="+mn-ea"/>
                  </a:rPr>
                  <a:t>TAVI</a:t>
                </a:r>
                <a:endParaRPr lang="nl-NL" sz="1000" b="1" i="0" kern="120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F59EAD1-2419-DD29-43BF-C45DDEC6379B}"/>
                </a:ext>
              </a:extLst>
            </p:cNvPr>
            <p:cNvSpPr txBox="1"/>
            <p:nvPr/>
          </p:nvSpPr>
          <p:spPr>
            <a:xfrm>
              <a:off x="266400" y="4188445"/>
              <a:ext cx="4257664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8700" indent="0" algn="l" defTabSz="360000" rtl="0" eaLnBrk="1" latinLnBrk="0" hangingPunct="1">
                <a:buClr>
                  <a:srgbClr val="C00000"/>
                </a:buClr>
                <a:buFont typeface="Arial" panose="020B0604020202020204" pitchFamily="34" charset="0"/>
                <a:buNone/>
              </a:pPr>
              <a:r>
                <a:rPr lang="en-US" sz="1000" b="1" i="0" kern="1200" dirty="0">
                  <a:solidFill>
                    <a:schemeClr val="tx1"/>
                  </a:solidFill>
                  <a:latin typeface="+mn-lt"/>
                  <a:ea typeface="+mn-ea"/>
                </a:rPr>
                <a:t>No. of </a:t>
              </a:r>
              <a:r>
                <a:rPr lang="en-US" sz="1000" b="1" i="0" kern="1200" dirty="0" err="1">
                  <a:solidFill>
                    <a:schemeClr val="tx1"/>
                  </a:solidFill>
                  <a:latin typeface="+mn-lt"/>
                  <a:ea typeface="+mn-ea"/>
                </a:rPr>
                <a:t>echos</a:t>
              </a:r>
              <a:endParaRPr lang="en-US" sz="1000" b="1" i="0" kern="1200" dirty="0">
                <a:solidFill>
                  <a:schemeClr val="tx1"/>
                </a:solidFill>
                <a:latin typeface="+mn-lt"/>
                <a:ea typeface="+mn-ea"/>
              </a:endParaRPr>
            </a:p>
            <a:p>
              <a:pPr marL="38700" indent="0" algn="l" defTabSz="360000" rtl="0" eaLnBrk="1" latinLnBrk="0" hangingPunct="1">
                <a:buClr>
                  <a:srgbClr val="C00000"/>
                </a:buClr>
                <a:buFont typeface="Arial" panose="020B0604020202020204" pitchFamily="34" charset="0"/>
                <a:buNone/>
              </a:pPr>
              <a:r>
                <a:rPr lang="en-US" sz="1000" b="1" dirty="0">
                  <a:solidFill>
                    <a:srgbClr val="C00000"/>
                  </a:solidFill>
                </a:rPr>
                <a:t>Surgery</a:t>
              </a:r>
              <a:r>
                <a:rPr lang="en-US" sz="1000" dirty="0">
                  <a:solidFill>
                    <a:srgbClr val="C00000"/>
                  </a:solidFill>
                </a:rPr>
                <a:t>	142	171						      174</a:t>
              </a:r>
            </a:p>
            <a:p>
              <a:pPr marL="38700" indent="0" algn="l" defTabSz="360000" rtl="0" eaLnBrk="1" latinLnBrk="0" hangingPunct="1">
                <a:buClr>
                  <a:srgbClr val="C00000"/>
                </a:buClr>
                <a:buFont typeface="Arial" panose="020B0604020202020204" pitchFamily="34" charset="0"/>
                <a:buNone/>
              </a:pPr>
              <a:r>
                <a:rPr lang="en-US" sz="1000" b="1" i="0" kern="1200" dirty="0">
                  <a:solidFill>
                    <a:srgbClr val="3366CC"/>
                  </a:solidFill>
                  <a:latin typeface="+mn-lt"/>
                  <a:ea typeface="+mn-ea"/>
                </a:rPr>
                <a:t>TAVI</a:t>
              </a:r>
              <a:r>
                <a:rPr lang="en-US" sz="1000" i="0" kern="1200" dirty="0">
                  <a:solidFill>
                    <a:srgbClr val="3366CC"/>
                  </a:solidFill>
                  <a:latin typeface="+mn-lt"/>
                  <a:ea typeface="+mn-ea"/>
                </a:rPr>
                <a:t>		157	185						      192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E7CD0B6-83DE-0298-F9E4-2D2D539B6806}"/>
              </a:ext>
            </a:extLst>
          </p:cNvPr>
          <p:cNvGrpSpPr/>
          <p:nvPr/>
        </p:nvGrpSpPr>
        <p:grpSpPr>
          <a:xfrm>
            <a:off x="4509184" y="965727"/>
            <a:ext cx="4162823" cy="3795288"/>
            <a:chOff x="4509184" y="965727"/>
            <a:chExt cx="4162823" cy="3795288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56F08150-0C8C-078D-4C2A-1F46D359D996}"/>
                </a:ext>
              </a:extLst>
            </p:cNvPr>
            <p:cNvGrpSpPr/>
            <p:nvPr/>
          </p:nvGrpSpPr>
          <p:grpSpPr>
            <a:xfrm>
              <a:off x="4616689" y="965727"/>
              <a:ext cx="4055318" cy="3197242"/>
              <a:chOff x="4616689" y="965726"/>
              <a:chExt cx="4055318" cy="3695651"/>
            </a:xfrm>
          </p:grpSpPr>
          <p:pic>
            <p:nvPicPr>
              <p:cNvPr id="10" name="Grafik 9"/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905" b="5964"/>
              <a:stretch/>
            </p:blipFill>
            <p:spPr>
              <a:xfrm>
                <a:off x="4616689" y="965726"/>
                <a:ext cx="4055318" cy="3695651"/>
              </a:xfrm>
              <a:prstGeom prst="rect">
                <a:avLst/>
              </a:prstGeom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C4C4738-37BF-76C8-38A7-41B3A6894A87}"/>
                  </a:ext>
                </a:extLst>
              </p:cNvPr>
              <p:cNvSpPr txBox="1"/>
              <p:nvPr/>
            </p:nvSpPr>
            <p:spPr>
              <a:xfrm>
                <a:off x="7672551" y="2803902"/>
                <a:ext cx="538149" cy="43088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36000" rIns="36000" rtlCol="0">
                <a:spAutoFit/>
              </a:bodyPr>
              <a:lstStyle/>
              <a:p>
                <a:pPr marL="38700" indent="0" defTabSz="360000" rtl="0" eaLnBrk="1" latinLnBrk="0" hangingPunct="1">
                  <a:spcBef>
                    <a:spcPct val="20000"/>
                  </a:spcBef>
                  <a:buClr>
                    <a:srgbClr val="C00000"/>
                  </a:buClr>
                  <a:buFont typeface="Arial" panose="020B0604020202020204" pitchFamily="34" charset="0"/>
                  <a:buNone/>
                </a:pPr>
                <a:r>
                  <a:rPr lang="en-US" sz="1000" b="1" i="0" kern="1200" dirty="0">
                    <a:latin typeface="+mn-lt"/>
                    <a:ea typeface="+mn-ea"/>
                  </a:rPr>
                  <a:t>Surgery</a:t>
                </a:r>
              </a:p>
              <a:p>
                <a:pPr marL="38700" indent="0" defTabSz="360000" rtl="0" eaLnBrk="1" latinLnBrk="0" hangingPunct="1">
                  <a:spcBef>
                    <a:spcPct val="20000"/>
                  </a:spcBef>
                  <a:buClr>
                    <a:srgbClr val="C00000"/>
                  </a:buClr>
                  <a:buFont typeface="Arial" panose="020B0604020202020204" pitchFamily="34" charset="0"/>
                  <a:buNone/>
                </a:pPr>
                <a:r>
                  <a:rPr lang="en-US" sz="1000" b="1" i="0" kern="1200" dirty="0">
                    <a:latin typeface="+mn-lt"/>
                    <a:ea typeface="+mn-ea"/>
                  </a:rPr>
                  <a:t>TAVI</a:t>
                </a:r>
                <a:endParaRPr lang="nl-NL" sz="1000" b="1" i="0" kern="120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40CCF5D6-608F-FE64-B0CF-99600B5AD8AB}"/>
                </a:ext>
              </a:extLst>
            </p:cNvPr>
            <p:cNvSpPr txBox="1"/>
            <p:nvPr/>
          </p:nvSpPr>
          <p:spPr>
            <a:xfrm>
              <a:off x="4509184" y="4207017"/>
              <a:ext cx="4162823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8700" indent="0" algn="l" defTabSz="360000" rtl="0" eaLnBrk="1" latinLnBrk="0" hangingPunct="1">
                <a:buClr>
                  <a:srgbClr val="C00000"/>
                </a:buClr>
                <a:buFont typeface="Arial" panose="020B0604020202020204" pitchFamily="34" charset="0"/>
                <a:buNone/>
              </a:pPr>
              <a:r>
                <a:rPr lang="en-US" sz="1000" b="1" i="0" kern="1200" dirty="0">
                  <a:solidFill>
                    <a:schemeClr val="tx1"/>
                  </a:solidFill>
                  <a:latin typeface="+mn-lt"/>
                  <a:ea typeface="+mn-ea"/>
                </a:rPr>
                <a:t>No. of </a:t>
              </a:r>
              <a:r>
                <a:rPr lang="en-US" sz="1000" b="1" i="0" kern="1200" dirty="0" err="1">
                  <a:solidFill>
                    <a:schemeClr val="tx1"/>
                  </a:solidFill>
                  <a:latin typeface="+mn-lt"/>
                  <a:ea typeface="+mn-ea"/>
                </a:rPr>
                <a:t>echos</a:t>
              </a:r>
              <a:endParaRPr lang="en-US" sz="1000" b="1" i="0" kern="1200" dirty="0">
                <a:solidFill>
                  <a:schemeClr val="tx1"/>
                </a:solidFill>
                <a:latin typeface="+mn-lt"/>
                <a:ea typeface="+mn-ea"/>
              </a:endParaRPr>
            </a:p>
            <a:p>
              <a:pPr marL="38700" indent="0" algn="l" defTabSz="360000" rtl="0" eaLnBrk="1" latinLnBrk="0" hangingPunct="1">
                <a:buClr>
                  <a:srgbClr val="C00000"/>
                </a:buClr>
                <a:buFont typeface="Arial" panose="020B0604020202020204" pitchFamily="34" charset="0"/>
                <a:buNone/>
              </a:pPr>
              <a:r>
                <a:rPr lang="en-US" sz="1000" b="1" dirty="0">
                  <a:solidFill>
                    <a:srgbClr val="C00000"/>
                  </a:solidFill>
                </a:rPr>
                <a:t>Surgery</a:t>
              </a:r>
              <a:r>
                <a:rPr lang="en-US" sz="1000" dirty="0">
                  <a:solidFill>
                    <a:srgbClr val="C00000"/>
                  </a:solidFill>
                </a:rPr>
                <a:t>	132	163						    159</a:t>
              </a:r>
            </a:p>
            <a:p>
              <a:pPr marL="38700" indent="0" algn="l" defTabSz="360000" rtl="0" eaLnBrk="1" latinLnBrk="0" hangingPunct="1">
                <a:buClr>
                  <a:srgbClr val="C00000"/>
                </a:buClr>
                <a:buFont typeface="Arial" panose="020B0604020202020204" pitchFamily="34" charset="0"/>
                <a:buNone/>
              </a:pPr>
              <a:r>
                <a:rPr lang="en-US" sz="1000" b="1" i="0" kern="1200" dirty="0">
                  <a:solidFill>
                    <a:srgbClr val="3366CC"/>
                  </a:solidFill>
                  <a:latin typeface="+mn-lt"/>
                  <a:ea typeface="+mn-ea"/>
                </a:rPr>
                <a:t>TAVI</a:t>
              </a:r>
              <a:r>
                <a:rPr lang="en-US" sz="1000" i="0" kern="1200" dirty="0">
                  <a:solidFill>
                    <a:srgbClr val="3366CC"/>
                  </a:solidFill>
                  <a:latin typeface="+mn-lt"/>
                  <a:ea typeface="+mn-ea"/>
                </a:rPr>
                <a:t>		153	172						    176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F362B7F9-241E-4010-8775-BCBE9581A8DD}"/>
              </a:ext>
            </a:extLst>
          </p:cNvPr>
          <p:cNvSpPr txBox="1"/>
          <p:nvPr/>
        </p:nvSpPr>
        <p:spPr>
          <a:xfrm>
            <a:off x="1475656" y="2710219"/>
            <a:ext cx="7200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700" indent="0" algn="l" defTabSz="3600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None/>
            </a:pPr>
            <a:r>
              <a:rPr lang="en-US" sz="1000" dirty="0"/>
              <a:t>p</a:t>
            </a:r>
            <a:r>
              <a:rPr lang="en-US" sz="1000" i="0" kern="1200" dirty="0">
                <a:solidFill>
                  <a:schemeClr val="tx1"/>
                </a:solidFill>
                <a:latin typeface="+mn-lt"/>
                <a:ea typeface="+mn-ea"/>
              </a:rPr>
              <a:t> &lt; 0.001</a:t>
            </a:r>
            <a:endParaRPr lang="nl-NL" sz="1000" i="0" kern="120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25FA513-F3AA-1ED6-2BB4-C2F69FD36E00}"/>
              </a:ext>
            </a:extLst>
          </p:cNvPr>
          <p:cNvSpPr txBox="1"/>
          <p:nvPr/>
        </p:nvSpPr>
        <p:spPr>
          <a:xfrm>
            <a:off x="3531929" y="2667110"/>
            <a:ext cx="7200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700" indent="0" algn="l" defTabSz="3600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None/>
            </a:pPr>
            <a:r>
              <a:rPr lang="en-US" sz="1000" dirty="0"/>
              <a:t>p</a:t>
            </a:r>
            <a:r>
              <a:rPr lang="en-US" sz="1000" i="0" kern="1200" dirty="0">
                <a:solidFill>
                  <a:schemeClr val="tx1"/>
                </a:solidFill>
                <a:latin typeface="+mn-lt"/>
                <a:ea typeface="+mn-ea"/>
              </a:rPr>
              <a:t> &lt; 0.001</a:t>
            </a:r>
            <a:endParaRPr lang="nl-NL" sz="1000" i="0" kern="120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AA5B824-EF78-EC59-9AEF-028632BD1565}"/>
              </a:ext>
            </a:extLst>
          </p:cNvPr>
          <p:cNvSpPr txBox="1"/>
          <p:nvPr/>
        </p:nvSpPr>
        <p:spPr>
          <a:xfrm>
            <a:off x="5724128" y="1887096"/>
            <a:ext cx="7200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700" indent="0" algn="l" defTabSz="3600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None/>
            </a:pPr>
            <a:r>
              <a:rPr lang="en-US" sz="1000" dirty="0"/>
              <a:t>p</a:t>
            </a:r>
            <a:r>
              <a:rPr lang="en-US" sz="1000" i="0" kern="1200" dirty="0">
                <a:solidFill>
                  <a:schemeClr val="tx1"/>
                </a:solidFill>
                <a:latin typeface="+mn-lt"/>
                <a:ea typeface="+mn-ea"/>
              </a:rPr>
              <a:t> = 0.007</a:t>
            </a:r>
            <a:endParaRPr lang="nl-NL" sz="1000" i="0" kern="120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FBD5BBE-6F60-2E2F-77A1-1DA33C29B02E}"/>
              </a:ext>
            </a:extLst>
          </p:cNvPr>
          <p:cNvSpPr txBox="1"/>
          <p:nvPr/>
        </p:nvSpPr>
        <p:spPr>
          <a:xfrm>
            <a:off x="7746043" y="1956018"/>
            <a:ext cx="7200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700" indent="0" algn="l" defTabSz="3600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None/>
            </a:pPr>
            <a:r>
              <a:rPr lang="en-US" sz="1000" dirty="0"/>
              <a:t>p</a:t>
            </a:r>
            <a:r>
              <a:rPr lang="en-US" sz="1000" i="0" kern="1200" dirty="0">
                <a:solidFill>
                  <a:schemeClr val="tx1"/>
                </a:solidFill>
                <a:latin typeface="+mn-lt"/>
                <a:ea typeface="+mn-ea"/>
              </a:rPr>
              <a:t> = 0.01</a:t>
            </a:r>
            <a:endParaRPr lang="nl-NL" sz="1000" i="0" kern="120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2" name="Title 2">
            <a:extLst>
              <a:ext uri="{FF2B5EF4-FFF2-40B4-BE49-F238E27FC236}">
                <a16:creationId xmlns:a16="http://schemas.microsoft.com/office/drawing/2014/main" id="{4EEEA7CB-2C31-4E56-5C8D-200C285C2799}"/>
              </a:ext>
            </a:extLst>
          </p:cNvPr>
          <p:cNvSpPr txBox="1">
            <a:spLocks/>
          </p:cNvSpPr>
          <p:nvPr/>
        </p:nvSpPr>
        <p:spPr bwMode="gray">
          <a:xfrm>
            <a:off x="1802218" y="957965"/>
            <a:ext cx="1611118" cy="35037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b="1" i="0" kern="1200" smtClean="0">
                <a:solidFill>
                  <a:schemeClr val="accent1"/>
                </a:solidFill>
                <a:latin typeface="+mj-lt"/>
                <a:ea typeface="+mn-ea"/>
                <a:cs typeface="Verdana"/>
              </a:defRPr>
            </a:lvl1pPr>
          </a:lstStyle>
          <a:p>
            <a:r>
              <a:rPr lang="nl-NL" sz="1800" b="0" dirty="0">
                <a:solidFill>
                  <a:schemeClr val="tx1"/>
                </a:solidFill>
              </a:rPr>
              <a:t>Mean Gradient</a:t>
            </a:r>
          </a:p>
        </p:txBody>
      </p:sp>
      <p:sp>
        <p:nvSpPr>
          <p:cNvPr id="23" name="Title 2">
            <a:extLst>
              <a:ext uri="{FF2B5EF4-FFF2-40B4-BE49-F238E27FC236}">
                <a16:creationId xmlns:a16="http://schemas.microsoft.com/office/drawing/2014/main" id="{058BA29A-E240-2CED-2162-3F59AD4BC1E1}"/>
              </a:ext>
            </a:extLst>
          </p:cNvPr>
          <p:cNvSpPr txBox="1">
            <a:spLocks/>
          </p:cNvSpPr>
          <p:nvPr/>
        </p:nvSpPr>
        <p:spPr bwMode="gray">
          <a:xfrm>
            <a:off x="5822584" y="958684"/>
            <a:ext cx="2199594" cy="35037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b="1" i="0" kern="1200" smtClean="0">
                <a:solidFill>
                  <a:schemeClr val="accent1"/>
                </a:solidFill>
                <a:latin typeface="+mj-lt"/>
                <a:ea typeface="+mn-ea"/>
                <a:cs typeface="Verdana"/>
              </a:defRPr>
            </a:lvl1pPr>
          </a:lstStyle>
          <a:p>
            <a:r>
              <a:rPr lang="nl-NL" sz="1800" b="0" dirty="0">
                <a:solidFill>
                  <a:schemeClr val="tx1"/>
                </a:solidFill>
              </a:rPr>
              <a:t>Effective Orifice Area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A3F70BE-2DED-B2F5-CCB3-DEAD8C03DFF8}"/>
              </a:ext>
            </a:extLst>
          </p:cNvPr>
          <p:cNvSpPr txBox="1"/>
          <p:nvPr/>
        </p:nvSpPr>
        <p:spPr>
          <a:xfrm>
            <a:off x="3707904" y="4796487"/>
            <a:ext cx="172819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700" indent="0" algn="l" defTabSz="3600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None/>
            </a:pPr>
            <a:r>
              <a:rPr lang="en-US" sz="1000" i="0" kern="1200" dirty="0">
                <a:solidFill>
                  <a:schemeClr val="tx1"/>
                </a:solidFill>
                <a:latin typeface="+mn-lt"/>
                <a:ea typeface="+mn-ea"/>
              </a:rPr>
              <a:t>P-values for TAVI vs Surgery </a:t>
            </a:r>
            <a:endParaRPr lang="nl-NL" sz="1000" i="0" kern="1200" dirty="0">
              <a:solidFill>
                <a:schemeClr val="tx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280705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81BC5B-235A-CF3E-5E1C-4E121ADA26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  <a:endParaRPr lang="nl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7DCD91-C77F-C001-29E2-73DDF63B3CA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b="0" dirty="0"/>
              <a:t>In </a:t>
            </a:r>
            <a:r>
              <a:rPr lang="en-US" sz="1600" dirty="0"/>
              <a:t>women all comers </a:t>
            </a:r>
            <a:r>
              <a:rPr lang="en-US" sz="1600" b="0" dirty="0"/>
              <a:t>with severe aortic stenosis, </a:t>
            </a:r>
            <a:r>
              <a:rPr lang="en-US" sz="1600" dirty="0"/>
              <a:t>TAVI</a:t>
            </a:r>
            <a:r>
              <a:rPr lang="en-US" sz="1600" b="0" dirty="0"/>
              <a:t> using SAPIEN 3 or SAPIEN 3 Ultra was </a:t>
            </a:r>
            <a:r>
              <a:rPr lang="en-US" sz="1600" dirty="0"/>
              <a:t>superior to surgery </a:t>
            </a:r>
            <a:r>
              <a:rPr lang="en-US" sz="1600" b="0" dirty="0"/>
              <a:t>for the </a:t>
            </a:r>
            <a:r>
              <a:rPr lang="en-US" sz="1600" dirty="0"/>
              <a:t>primary composite end point </a:t>
            </a:r>
            <a:r>
              <a:rPr lang="en-US" sz="1600" b="0" dirty="0"/>
              <a:t>of death, stroke, or rehospitalization at one year. This superiority was essentially driven by the lower rate or rehospitalizations</a:t>
            </a:r>
          </a:p>
          <a:p>
            <a:endParaRPr lang="en-US" sz="16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/>
              <a:t>TAVI</a:t>
            </a:r>
            <a:r>
              <a:rPr lang="en-GB" sz="1600" b="0" dirty="0"/>
              <a:t> had a </a:t>
            </a:r>
            <a:r>
              <a:rPr lang="en-GB" sz="1600" dirty="0"/>
              <a:t>lower incidence </a:t>
            </a:r>
            <a:r>
              <a:rPr lang="en-GB" sz="1600" b="0" dirty="0"/>
              <a:t>of new onset AF at 30 days, a quicker recovery and shorter length of index hospital stay, but </a:t>
            </a:r>
            <a:r>
              <a:rPr lang="en-GB" sz="1600" dirty="0"/>
              <a:t>higher rates </a:t>
            </a:r>
            <a:r>
              <a:rPr lang="en-GB" sz="1600" b="0" dirty="0"/>
              <a:t>of mild paravalvular aortic regurgitation and new permanent pacemaker implantation</a:t>
            </a:r>
          </a:p>
          <a:p>
            <a:endParaRPr lang="en-GB" sz="16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b="0" dirty="0"/>
              <a:t>Excellent </a:t>
            </a:r>
            <a:r>
              <a:rPr lang="en-US" sz="1600" dirty="0"/>
              <a:t>hemodynamics</a:t>
            </a:r>
            <a:r>
              <a:rPr lang="en-US" sz="1600" b="0" dirty="0"/>
              <a:t> were achieved with both procedures in a population where around 75% of women had a small annulu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b="0" dirty="0"/>
              <a:t>Besides the patient benefit, the less invasive TAVI treatment also provides </a:t>
            </a:r>
            <a:r>
              <a:rPr lang="en-US" sz="1600" dirty="0"/>
              <a:t>benefits</a:t>
            </a:r>
            <a:r>
              <a:rPr lang="en-US" sz="1600" b="0" dirty="0"/>
              <a:t> in terms of </a:t>
            </a:r>
            <a:r>
              <a:rPr lang="en-US" sz="1600" dirty="0"/>
              <a:t>health care resources</a:t>
            </a:r>
            <a:r>
              <a:rPr lang="en-US" sz="1600" b="0" dirty="0"/>
              <a:t>: less rehospitalization, shorter index hospital stay, and more patients discharged home</a:t>
            </a:r>
            <a:endParaRPr lang="en-GB" sz="18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18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b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BAC29E4-9E30-DF6F-7265-3C81BA795F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6808" y="337665"/>
            <a:ext cx="978551" cy="587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67485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SC_PPT_Light_220817-16-9">
  <a:themeElements>
    <a:clrScheme name="ESC // branding 2017">
      <a:dk1>
        <a:sysClr val="windowText" lastClr="000000"/>
      </a:dk1>
      <a:lt1>
        <a:sysClr val="window" lastClr="FFFFFF"/>
      </a:lt1>
      <a:dk2>
        <a:srgbClr val="595959"/>
      </a:dk2>
      <a:lt2>
        <a:srgbClr val="F2F2F2"/>
      </a:lt2>
      <a:accent1>
        <a:srgbClr val="AE1022"/>
      </a:accent1>
      <a:accent2>
        <a:srgbClr val="552682"/>
      </a:accent2>
      <a:accent3>
        <a:srgbClr val="00ABAA"/>
      </a:accent3>
      <a:accent4>
        <a:srgbClr val="005694"/>
      </a:accent4>
      <a:accent5>
        <a:srgbClr val="FBB800"/>
      </a:accent5>
      <a:accent6>
        <a:srgbClr val="EF7918"/>
      </a:accent6>
      <a:hlink>
        <a:srgbClr val="F8B836"/>
      </a:hlink>
      <a:folHlink>
        <a:srgbClr val="F5832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spDef>
    <a:txDef>
      <a:spPr>
        <a:noFill/>
      </a:spPr>
      <a:bodyPr wrap="square" rtlCol="0">
        <a:spAutoFit/>
      </a:bodyPr>
      <a:lstStyle>
        <a:defPPr marL="38700" indent="0" algn="l" defTabSz="360000" rtl="0" eaLnBrk="1" latinLnBrk="0" hangingPunct="1">
          <a:spcBef>
            <a:spcPct val="20000"/>
          </a:spcBef>
          <a:buClr>
            <a:srgbClr val="C00000"/>
          </a:buClr>
          <a:buFont typeface="Arial" panose="020B0604020202020204" pitchFamily="34" charset="0"/>
          <a:buNone/>
          <a:defRPr sz="1600" b="1" i="0" kern="1200" dirty="0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SC_PPT_GENERIC_12012021  -  Read-Only" id="{8CB5A6F9-0108-4F1C-927D-5872DF40D793}" vid="{717AFAD0-94CD-4965-A011-B2544BC0820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10CA37B410A544A99B6A9D265097CBE" ma:contentTypeVersion="14" ma:contentTypeDescription="Crée un document." ma:contentTypeScope="" ma:versionID="7f8971810fb84b758c1621f5d055a6ae">
  <xsd:schema xmlns:xsd="http://www.w3.org/2001/XMLSchema" xmlns:xs="http://www.w3.org/2001/XMLSchema" xmlns:p="http://schemas.microsoft.com/office/2006/metadata/properties" xmlns:ns2="539a4351-57d9-42bb-9c72-2e0841c21f83" xmlns:ns3="5d58466a-1fdf-4051-97fc-97f65b69d6c0" targetNamespace="http://schemas.microsoft.com/office/2006/metadata/properties" ma:root="true" ma:fieldsID="e2c4f43a53ba759e88b56988b87e4f2a" ns2:_="" ns3:_="">
    <xsd:import namespace="539a4351-57d9-42bb-9c72-2e0841c21f83"/>
    <xsd:import namespace="5d58466a-1fdf-4051-97fc-97f65b69d6c0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3:lcf76f155ced4ddcb4097134ff3c332f" minOccurs="0"/>
                <xsd:element ref="ns2:TaxCatchAll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MediaServiceDateTaken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9a4351-57d9-42bb-9c72-2e0841c21f8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83c261f7-3cf8-48e4-a582-2dde99f5bf03}" ma:internalName="TaxCatchAll" ma:showField="CatchAllData" ma:web="539a4351-57d9-42bb-9c72-2e0841c21f8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58466a-1fdf-4051-97fc-97f65b69d6c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Balises d’images" ma:readOnly="false" ma:fieldId="{5cf76f15-5ced-4ddc-b409-7134ff3c332f}" ma:taxonomyMulti="true" ma:sspId="16062b77-469d-4a29-aa61-cf6667edfa4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39a4351-57d9-42bb-9c72-2e0841c21f83" xsi:nil="true"/>
    <lcf76f155ced4ddcb4097134ff3c332f xmlns="5d58466a-1fdf-4051-97fc-97f65b69d6c0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F4169EDA-F186-4FB6-A0F3-5B5C6300CDD9}"/>
</file>

<file path=customXml/itemProps2.xml><?xml version="1.0" encoding="utf-8"?>
<ds:datastoreItem xmlns:ds="http://schemas.openxmlformats.org/officeDocument/2006/customXml" ds:itemID="{F0C911AD-2F84-4022-AB89-022F10985E2C}"/>
</file>

<file path=customXml/itemProps3.xml><?xml version="1.0" encoding="utf-8"?>
<ds:datastoreItem xmlns:ds="http://schemas.openxmlformats.org/officeDocument/2006/customXml" ds:itemID="{0B6C9364-18FD-463C-80F4-5574A1E44042}"/>
</file>

<file path=docMetadata/LabelInfo.xml><?xml version="1.0" encoding="utf-8"?>
<clbl:labelList xmlns:clbl="http://schemas.microsoft.com/office/2020/mipLabelMetadata">
  <clbl:label id="{c8fe7995-06f0-4bdf-8f2a-0c8a7986480d}" enabled="0" method="" siteId="{c8fe7995-06f0-4bdf-8f2a-0c8a7986480d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ESC_PPT_Light_220817-16-9</Template>
  <TotalTime>1145</TotalTime>
  <Words>3958</Words>
  <Application>Microsoft Macintosh PowerPoint</Application>
  <PresentationFormat>Affichage à l'écran (16:9)</PresentationFormat>
  <Paragraphs>813</Paragraphs>
  <Slides>39</Slides>
  <Notes>23</Notes>
  <HiddenSlides>29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9</vt:i4>
      </vt:variant>
    </vt:vector>
  </HeadingPairs>
  <TitlesOfParts>
    <vt:vector size="45" baseType="lpstr">
      <vt:lpstr>Arial</vt:lpstr>
      <vt:lpstr>Calibri</vt:lpstr>
      <vt:lpstr>Wingdings</vt:lpstr>
      <vt:lpstr>ヒラギノ角ゴ Pro W3</vt:lpstr>
      <vt:lpstr>ESC_PPT_Light_220817-16-9</vt:lpstr>
      <vt:lpstr>think-cell Slide</vt:lpstr>
      <vt:lpstr>Présentation PowerPoint</vt:lpstr>
      <vt:lpstr>RHEIA Trial Design </vt:lpstr>
      <vt:lpstr>Patient Enrollment</vt:lpstr>
      <vt:lpstr>Présentation PowerPoint</vt:lpstr>
      <vt:lpstr>Primary Endpoint Kaplan–Meier Estimates</vt:lpstr>
      <vt:lpstr>Primary Endpoint Components at 1 year</vt:lpstr>
      <vt:lpstr>Other Secondary Endpoints</vt:lpstr>
      <vt:lpstr>Echocardiography findings</vt:lpstr>
      <vt:lpstr>Conclusions</vt:lpstr>
      <vt:lpstr>Présentation PowerPoint</vt:lpstr>
      <vt:lpstr>Présentation PowerPoint</vt:lpstr>
      <vt:lpstr>Background </vt:lpstr>
      <vt:lpstr>Purpose</vt:lpstr>
      <vt:lpstr>RHEIA Trial Design </vt:lpstr>
      <vt:lpstr>48 Clinical Sites - 443 Patients - 12 Countries</vt:lpstr>
      <vt:lpstr>Trial Leadership</vt:lpstr>
      <vt:lpstr>Key Inclusion and Exclusion Criteria</vt:lpstr>
      <vt:lpstr>Study methodology</vt:lpstr>
      <vt:lpstr>Primary Endpoint</vt:lpstr>
      <vt:lpstr>Sample size calculation</vt:lpstr>
      <vt:lpstr>Statistical analysis</vt:lpstr>
      <vt:lpstr>Patient Enrollment</vt:lpstr>
      <vt:lpstr>Patient Allocation</vt:lpstr>
      <vt:lpstr>Patient Follow up</vt:lpstr>
      <vt:lpstr>Présentation PowerPoint</vt:lpstr>
      <vt:lpstr>Présentation PowerPoint</vt:lpstr>
      <vt:lpstr>Procedural Findings</vt:lpstr>
      <vt:lpstr>Valve size distribution</vt:lpstr>
      <vt:lpstr>Procedural Complications and Outcomes</vt:lpstr>
      <vt:lpstr>Primary Endpoint Kaplan–Meier Estimates</vt:lpstr>
      <vt:lpstr>Primary Endpoint at 1 year</vt:lpstr>
      <vt:lpstr>Primary Endpoint Components at 1 year</vt:lpstr>
      <vt:lpstr>Key Secondary Endpoints at 1 year</vt:lpstr>
      <vt:lpstr>Echocardiography findings</vt:lpstr>
      <vt:lpstr>Quality of Life KCCQ evaluation</vt:lpstr>
      <vt:lpstr>Conclusions</vt:lpstr>
      <vt:lpstr>Conclusions (cont.)</vt:lpstr>
      <vt:lpstr>Clinical Implications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Roland COLLIN</dc:creator>
  <cp:lastModifiedBy>Lara Dogliotti</cp:lastModifiedBy>
  <cp:revision>99</cp:revision>
  <dcterms:created xsi:type="dcterms:W3CDTF">2021-07-16T09:19:14Z</dcterms:created>
  <dcterms:modified xsi:type="dcterms:W3CDTF">2024-08-30T06:58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10CA37B410A544A99B6A9D265097CBE</vt:lpwstr>
  </property>
</Properties>
</file>